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2" r:id="rId3"/>
  </p:sldMasterIdLst>
  <p:notesMasterIdLst>
    <p:notesMasterId r:id="rId13"/>
  </p:notesMasterIdLst>
  <p:handoutMasterIdLst>
    <p:handoutMasterId r:id="rId41"/>
  </p:handoutMasterIdLst>
  <p:sldIdLst>
    <p:sldId id="256" r:id="rId4"/>
    <p:sldId id="340" r:id="rId5"/>
    <p:sldId id="341" r:id="rId6"/>
    <p:sldId id="342" r:id="rId7"/>
    <p:sldId id="343" r:id="rId8"/>
    <p:sldId id="344" r:id="rId9"/>
    <p:sldId id="345" r:id="rId10"/>
    <p:sldId id="346" r:id="rId11"/>
    <p:sldId id="280" r:id="rId12"/>
    <p:sldId id="310" r:id="rId14"/>
    <p:sldId id="283" r:id="rId15"/>
    <p:sldId id="261" r:id="rId16"/>
    <p:sldId id="262" r:id="rId17"/>
    <p:sldId id="263" r:id="rId18"/>
    <p:sldId id="264" r:id="rId19"/>
    <p:sldId id="265" r:id="rId20"/>
    <p:sldId id="266" r:id="rId21"/>
    <p:sldId id="267" r:id="rId22"/>
    <p:sldId id="268" r:id="rId23"/>
    <p:sldId id="269" r:id="rId24"/>
    <p:sldId id="270" r:id="rId25"/>
    <p:sldId id="277" r:id="rId26"/>
    <p:sldId id="271" r:id="rId27"/>
    <p:sldId id="272" r:id="rId28"/>
    <p:sldId id="278" r:id="rId29"/>
    <p:sldId id="282" r:id="rId30"/>
    <p:sldId id="311" r:id="rId31"/>
    <p:sldId id="301" r:id="rId32"/>
    <p:sldId id="302" r:id="rId33"/>
    <p:sldId id="303" r:id="rId34"/>
    <p:sldId id="304" r:id="rId35"/>
    <p:sldId id="305" r:id="rId36"/>
    <p:sldId id="306" r:id="rId37"/>
    <p:sldId id="307" r:id="rId38"/>
    <p:sldId id="309" r:id="rId39"/>
    <p:sldId id="308" r:id="rId40"/>
  </p:sldIdLst>
  <p:sldSz cx="9906000" cy="6858000" type="A4"/>
  <p:notesSz cx="6798945" cy="9929495"/>
  <p:defaultTextStyle>
    <a:defPPr>
      <a:defRPr lang="ja-JP"/>
    </a:defPPr>
    <a:lvl1pPr marL="0" lvl="0" indent="0" algn="l" defTabSz="455930" eaLnBrk="1" fontAlgn="base" latinLnBrk="0" hangingPunct="1">
      <a:lnSpc>
        <a:spcPct val="100000"/>
      </a:lnSpc>
      <a:spcBef>
        <a:spcPct val="0"/>
      </a:spcBef>
      <a:spcAft>
        <a:spcPct val="0"/>
      </a:spcAft>
      <a:buFont typeface="Arial" panose="020B0604020202020204" pitchFamily="34" charset="0"/>
      <a:buNone/>
      <a:defRPr sz="1800" b="0" i="0" u="none" kern="1200" baseline="0">
        <a:solidFill>
          <a:schemeClr val="tx1"/>
        </a:solidFill>
        <a:latin typeface="Arial" panose="020B0604020202020204" pitchFamily="34" charset="0"/>
        <a:ea typeface="ヒラギノ角ゴ Pro W3"/>
      </a:defRPr>
    </a:lvl1pPr>
    <a:lvl2pPr marL="455930" lvl="1" indent="1270" algn="l" defTabSz="455930" eaLnBrk="1" fontAlgn="base" latinLnBrk="0" hangingPunct="1">
      <a:lnSpc>
        <a:spcPct val="100000"/>
      </a:lnSpc>
      <a:spcBef>
        <a:spcPct val="0"/>
      </a:spcBef>
      <a:spcAft>
        <a:spcPct val="0"/>
      </a:spcAft>
      <a:buFont typeface="Arial" panose="020B0604020202020204" pitchFamily="34" charset="0"/>
      <a:buNone/>
      <a:defRPr sz="1800" b="0" i="0" u="none" kern="1200" baseline="0">
        <a:solidFill>
          <a:schemeClr val="tx1"/>
        </a:solidFill>
        <a:latin typeface="Arial" panose="020B0604020202020204" pitchFamily="34" charset="0"/>
        <a:ea typeface="ヒラギノ角ゴ Pro W3"/>
      </a:defRPr>
    </a:lvl2pPr>
    <a:lvl3pPr marL="913130" lvl="2" indent="1270" algn="l" defTabSz="455930" eaLnBrk="1" fontAlgn="base" latinLnBrk="0" hangingPunct="1">
      <a:lnSpc>
        <a:spcPct val="100000"/>
      </a:lnSpc>
      <a:spcBef>
        <a:spcPct val="0"/>
      </a:spcBef>
      <a:spcAft>
        <a:spcPct val="0"/>
      </a:spcAft>
      <a:buFont typeface="Arial" panose="020B0604020202020204" pitchFamily="34" charset="0"/>
      <a:buNone/>
      <a:defRPr sz="1800" b="0" i="0" u="none" kern="1200" baseline="0">
        <a:solidFill>
          <a:schemeClr val="tx1"/>
        </a:solidFill>
        <a:latin typeface="Arial" panose="020B0604020202020204" pitchFamily="34" charset="0"/>
        <a:ea typeface="ヒラギノ角ゴ Pro W3"/>
      </a:defRPr>
    </a:lvl3pPr>
    <a:lvl4pPr marL="1370330" lvl="3" indent="1270" algn="l" defTabSz="455930" eaLnBrk="1" fontAlgn="base" latinLnBrk="0" hangingPunct="1">
      <a:lnSpc>
        <a:spcPct val="100000"/>
      </a:lnSpc>
      <a:spcBef>
        <a:spcPct val="0"/>
      </a:spcBef>
      <a:spcAft>
        <a:spcPct val="0"/>
      </a:spcAft>
      <a:buFont typeface="Arial" panose="020B0604020202020204" pitchFamily="34" charset="0"/>
      <a:buNone/>
      <a:defRPr sz="1800" b="0" i="0" u="none" kern="1200" baseline="0">
        <a:solidFill>
          <a:schemeClr val="tx1"/>
        </a:solidFill>
        <a:latin typeface="Arial" panose="020B0604020202020204" pitchFamily="34" charset="0"/>
        <a:ea typeface="ヒラギノ角ゴ Pro W3"/>
      </a:defRPr>
    </a:lvl4pPr>
    <a:lvl5pPr marL="1827530" lvl="4" indent="1270" algn="l" defTabSz="455930" eaLnBrk="1" fontAlgn="base" latinLnBrk="0" hangingPunct="1">
      <a:lnSpc>
        <a:spcPct val="100000"/>
      </a:lnSpc>
      <a:spcBef>
        <a:spcPct val="0"/>
      </a:spcBef>
      <a:spcAft>
        <a:spcPct val="0"/>
      </a:spcAft>
      <a:buFont typeface="Arial" panose="020B0604020202020204" pitchFamily="34" charset="0"/>
      <a:buNone/>
      <a:defRPr sz="1800" b="0" i="0" u="none" kern="1200" baseline="0">
        <a:solidFill>
          <a:schemeClr val="tx1"/>
        </a:solidFill>
        <a:latin typeface="Arial" panose="020B0604020202020204" pitchFamily="34" charset="0"/>
        <a:ea typeface="ヒラギノ角ゴ Pro W3"/>
      </a:defRPr>
    </a:lvl5pPr>
    <a:lvl6pPr marL="2286000" lvl="5" indent="1270" algn="l" defTabSz="455930" eaLnBrk="1" fontAlgn="base" latinLnBrk="0" hangingPunct="1">
      <a:lnSpc>
        <a:spcPct val="100000"/>
      </a:lnSpc>
      <a:spcBef>
        <a:spcPct val="0"/>
      </a:spcBef>
      <a:spcAft>
        <a:spcPct val="0"/>
      </a:spcAft>
      <a:buFont typeface="Arial" panose="020B0604020202020204" pitchFamily="34" charset="0"/>
      <a:buNone/>
      <a:defRPr sz="1800" b="0" i="0" u="none" kern="1200" baseline="0">
        <a:solidFill>
          <a:schemeClr val="tx1"/>
        </a:solidFill>
        <a:latin typeface="Arial" panose="020B0604020202020204" pitchFamily="34" charset="0"/>
        <a:ea typeface="ヒラギノ角ゴ Pro W3"/>
      </a:defRPr>
    </a:lvl6pPr>
    <a:lvl7pPr marL="2743200" lvl="6" indent="1270" algn="l" defTabSz="455930" eaLnBrk="1" fontAlgn="base" latinLnBrk="0" hangingPunct="1">
      <a:lnSpc>
        <a:spcPct val="100000"/>
      </a:lnSpc>
      <a:spcBef>
        <a:spcPct val="0"/>
      </a:spcBef>
      <a:spcAft>
        <a:spcPct val="0"/>
      </a:spcAft>
      <a:buFont typeface="Arial" panose="020B0604020202020204" pitchFamily="34" charset="0"/>
      <a:buNone/>
      <a:defRPr sz="1800" b="0" i="0" u="none" kern="1200" baseline="0">
        <a:solidFill>
          <a:schemeClr val="tx1"/>
        </a:solidFill>
        <a:latin typeface="Arial" panose="020B0604020202020204" pitchFamily="34" charset="0"/>
        <a:ea typeface="ヒラギノ角ゴ Pro W3"/>
      </a:defRPr>
    </a:lvl7pPr>
    <a:lvl8pPr marL="3200400" lvl="7" indent="1270" algn="l" defTabSz="455930" eaLnBrk="1" fontAlgn="base" latinLnBrk="0" hangingPunct="1">
      <a:lnSpc>
        <a:spcPct val="100000"/>
      </a:lnSpc>
      <a:spcBef>
        <a:spcPct val="0"/>
      </a:spcBef>
      <a:spcAft>
        <a:spcPct val="0"/>
      </a:spcAft>
      <a:buFont typeface="Arial" panose="020B0604020202020204" pitchFamily="34" charset="0"/>
      <a:buNone/>
      <a:defRPr sz="1800" b="0" i="0" u="none" kern="1200" baseline="0">
        <a:solidFill>
          <a:schemeClr val="tx1"/>
        </a:solidFill>
        <a:latin typeface="Arial" panose="020B0604020202020204" pitchFamily="34" charset="0"/>
        <a:ea typeface="ヒラギノ角ゴ Pro W3"/>
      </a:defRPr>
    </a:lvl8pPr>
    <a:lvl9pPr marL="3657600" lvl="8" indent="1270" algn="l" defTabSz="455930" eaLnBrk="1" fontAlgn="base" latinLnBrk="0" hangingPunct="1">
      <a:lnSpc>
        <a:spcPct val="100000"/>
      </a:lnSpc>
      <a:spcBef>
        <a:spcPct val="0"/>
      </a:spcBef>
      <a:spcAft>
        <a:spcPct val="0"/>
      </a:spcAft>
      <a:buFont typeface="Arial" panose="020B0604020202020204" pitchFamily="34" charset="0"/>
      <a:buNone/>
      <a:defRPr sz="1800" b="0" i="0" u="none" kern="1200" baseline="0">
        <a:solidFill>
          <a:schemeClr val="tx1"/>
        </a:solidFill>
        <a:latin typeface="Arial" panose="020B0604020202020204" pitchFamily="34" charset="0"/>
        <a:ea typeface="ヒラギノ角ゴ Pro W3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2F4AA"/>
    <a:srgbClr val="004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368"/>
    <p:restoredTop sz="94660"/>
  </p:normalViewPr>
  <p:slideViewPr>
    <p:cSldViewPr snapToGrid="0" showGuides="1">
      <p:cViewPr varScale="1">
        <p:scale>
          <a:sx n="115" d="100"/>
          <a:sy n="115" d="100"/>
        </p:scale>
        <p:origin x="-1520" y="-120"/>
      </p:cViewPr>
      <p:guideLst>
        <p:guide orient="horz" pos="2160"/>
        <p:guide pos="316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 showFormatting="0"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4" Type="http://schemas.openxmlformats.org/officeDocument/2006/relationships/tableStyles" Target="tableStyles.xml"/><Relationship Id="rId43" Type="http://schemas.openxmlformats.org/officeDocument/2006/relationships/viewProps" Target="viewProps.xml"/><Relationship Id="rId42" Type="http://schemas.openxmlformats.org/officeDocument/2006/relationships/presProps" Target="presProps.xml"/><Relationship Id="rId41" Type="http://schemas.openxmlformats.org/officeDocument/2006/relationships/handoutMaster" Target="handoutMasters/handoutMaster1.xml"/><Relationship Id="rId40" Type="http://schemas.openxmlformats.org/officeDocument/2006/relationships/slide" Target="slides/slide36.xml"/><Relationship Id="rId4" Type="http://schemas.openxmlformats.org/officeDocument/2006/relationships/slide" Target="slides/slide1.xml"/><Relationship Id="rId39" Type="http://schemas.openxmlformats.org/officeDocument/2006/relationships/slide" Target="slides/slide35.xml"/><Relationship Id="rId38" Type="http://schemas.openxmlformats.org/officeDocument/2006/relationships/slide" Target="slides/slide34.xml"/><Relationship Id="rId37" Type="http://schemas.openxmlformats.org/officeDocument/2006/relationships/slide" Target="slides/slide33.xml"/><Relationship Id="rId36" Type="http://schemas.openxmlformats.org/officeDocument/2006/relationships/slide" Target="slides/slide32.xml"/><Relationship Id="rId35" Type="http://schemas.openxmlformats.org/officeDocument/2006/relationships/slide" Target="slides/slide31.xml"/><Relationship Id="rId34" Type="http://schemas.openxmlformats.org/officeDocument/2006/relationships/slide" Target="slides/slide30.xml"/><Relationship Id="rId33" Type="http://schemas.openxmlformats.org/officeDocument/2006/relationships/slide" Target="slides/slide29.xml"/><Relationship Id="rId32" Type="http://schemas.openxmlformats.org/officeDocument/2006/relationships/slide" Target="slides/slide28.xml"/><Relationship Id="rId31" Type="http://schemas.openxmlformats.org/officeDocument/2006/relationships/slide" Target="slides/slide27.xml"/><Relationship Id="rId30" Type="http://schemas.openxmlformats.org/officeDocument/2006/relationships/slide" Target="slides/slide2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8" Type="http://schemas.openxmlformats.org/officeDocument/2006/relationships/slide" Target="slides/slide24.xml"/><Relationship Id="rId27" Type="http://schemas.openxmlformats.org/officeDocument/2006/relationships/slide" Target="slides/slide23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notesMaster" Target="notesMasters/notesMaster1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135" tIns="46067" rIns="92135" bIns="46067" numCol="1" anchor="t" anchorCtr="0" compatLnSpc="1"/>
          <a:lstStyle>
            <a:lvl1pPr defTabSz="455295" eaLnBrk="0" hangingPunct="0">
              <a:buFontTx/>
              <a:buNone/>
              <a:defRPr kumimoji="1" sz="1200">
                <a:latin typeface="Arial" panose="020B0604020202020204" pitchFamily="34" charset="0"/>
                <a:ea typeface="ヒラギノ角ゴ Pro W3" charset="-128"/>
                <a:cs typeface="+mn-cs"/>
              </a:defRPr>
            </a:lvl1pPr>
          </a:lstStyle>
          <a:p>
            <a:pPr marL="0" marR="0" lvl="0" indent="0" algn="l" defTabSz="4552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135" tIns="46067" rIns="92135" bIns="46067" numCol="1" anchor="t" anchorCtr="0" compatLnSpc="1"/>
          <a:lstStyle>
            <a:lvl1pPr algn="r" defTabSz="455295" eaLnBrk="0" hangingPunct="0">
              <a:buFontTx/>
              <a:buNone/>
              <a:defRPr kumimoji="1" sz="1200">
                <a:latin typeface="Arial" panose="020B0604020202020204" pitchFamily="34" charset="0"/>
                <a:ea typeface="ヒラギノ角ゴ Pro W3" charset="-128"/>
                <a:cs typeface="+mn-cs"/>
              </a:defRPr>
            </a:lvl1pPr>
          </a:lstStyle>
          <a:p>
            <a:pPr marL="0" marR="0" lvl="0" indent="0" algn="r" defTabSz="4552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135" tIns="46067" rIns="92135" bIns="46067" numCol="1" anchor="b" anchorCtr="0" compatLnSpc="1"/>
          <a:lstStyle>
            <a:lvl1pPr defTabSz="455295" eaLnBrk="0" hangingPunct="0">
              <a:buFontTx/>
              <a:buNone/>
              <a:defRPr kumimoji="1" sz="1200">
                <a:latin typeface="Arial" panose="020B0604020202020204" pitchFamily="34" charset="0"/>
                <a:ea typeface="ヒラギノ角ゴ Pro W3" charset="-128"/>
                <a:cs typeface="+mn-cs"/>
              </a:defRPr>
            </a:lvl1pPr>
          </a:lstStyle>
          <a:p>
            <a:pPr marL="0" marR="0" lvl="0" indent="0" algn="l" defTabSz="4552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135" tIns="46067" rIns="92135" bIns="46067" numCol="1" anchor="b" anchorCtr="0" compatLnSpc="1"/>
          <a:lstStyle/>
          <a:p>
            <a:pPr lvl="0" algn="r" eaLnBrk="1" hangingPunct="1"/>
            <a:fld id="{9A0DB2DC-4C9A-4742-B13C-FB6460FD3503}" type="slidenum">
              <a:rPr lang="ja-JP" altLang="en-US" sz="1200" dirty="0"/>
            </a:fld>
            <a:endParaRPr lang="ja-JP" altLang="en-US" sz="12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135" tIns="46067" rIns="92135" bIns="46067" numCol="1" anchor="t" anchorCtr="0" compatLnSpc="1"/>
          <a:lstStyle>
            <a:lvl1pPr defTabSz="455295" eaLnBrk="0" hangingPunct="0">
              <a:buFontTx/>
              <a:buNone/>
              <a:defRPr kumimoji="1" sz="1200">
                <a:latin typeface="Arial" panose="020B0604020202020204" pitchFamily="34" charset="0"/>
                <a:ea typeface="ヒラギノ角ゴ Pro W3" charset="-128"/>
                <a:cs typeface="+mn-cs"/>
              </a:defRPr>
            </a:lvl1pPr>
          </a:lstStyle>
          <a:p>
            <a:pPr marL="0" marR="0" lvl="0" indent="0" algn="l" defTabSz="4552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135" tIns="46067" rIns="92135" bIns="46067" numCol="1" anchor="t" anchorCtr="0" compatLnSpc="1"/>
          <a:lstStyle>
            <a:lvl1pPr algn="r" defTabSz="455295" eaLnBrk="0" hangingPunct="0">
              <a:buFontTx/>
              <a:buNone/>
              <a:defRPr kumimoji="1" sz="1200">
                <a:latin typeface="Arial" panose="020B0604020202020204" pitchFamily="34" charset="0"/>
                <a:ea typeface="ヒラギノ角ゴ Pro W3" charset="-128"/>
                <a:cs typeface="+mn-cs"/>
              </a:defRPr>
            </a:lvl1pPr>
          </a:lstStyle>
          <a:p>
            <a:pPr marL="0" marR="0" lvl="0" indent="0" algn="r" defTabSz="4552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40964" name="Rectangle 4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09613" y="744538"/>
            <a:ext cx="5380037" cy="3724275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40363" cy="44688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135" tIns="46067" rIns="92135" bIns="46067" numCol="1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マスタ テキストの書式設定</a:t>
            </a:r>
            <a:endParaRPr kumimoji="0" lang="ja-JP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第 </a:t>
            </a:r>
            <a:r>
              <a:rPr kumimoji="0" lang="en-US" altLang="ja-JP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2 </a:t>
            </a:r>
            <a:r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レベル</a:t>
            </a:r>
            <a:endParaRPr kumimoji="0" lang="ja-JP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第 </a:t>
            </a:r>
            <a:r>
              <a:rPr kumimoji="0" lang="en-US" altLang="ja-JP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3 </a:t>
            </a:r>
            <a:r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レベル</a:t>
            </a:r>
            <a:endParaRPr kumimoji="0" lang="ja-JP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第 </a:t>
            </a:r>
            <a:r>
              <a:rPr kumimoji="0" lang="en-US" altLang="ja-JP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4 </a:t>
            </a:r>
            <a:r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レベル</a:t>
            </a:r>
            <a:endParaRPr kumimoji="0" lang="ja-JP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  <a:p>
            <a:pPr marL="1828800" marR="0" lvl="4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第 </a:t>
            </a:r>
            <a:r>
              <a:rPr kumimoji="0" lang="en-US" altLang="ja-JP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5 </a:t>
            </a:r>
            <a:r>
              <a:rPr kumimoji="0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レベル</a:t>
            </a:r>
            <a:endParaRPr kumimoji="0" lang="ja-JP" altLang="en-US" sz="1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135" tIns="46067" rIns="92135" bIns="46067" numCol="1" anchor="b" anchorCtr="0" compatLnSpc="1"/>
          <a:lstStyle>
            <a:lvl1pPr defTabSz="455295" eaLnBrk="0" hangingPunct="0">
              <a:buFontTx/>
              <a:buNone/>
              <a:defRPr kumimoji="1" sz="1200">
                <a:latin typeface="Arial" panose="020B0604020202020204" pitchFamily="34" charset="0"/>
                <a:ea typeface="ヒラギノ角ゴ Pro W3" charset="-128"/>
                <a:cs typeface="+mn-cs"/>
              </a:defRPr>
            </a:lvl1pPr>
          </a:lstStyle>
          <a:p>
            <a:pPr marL="0" marR="0" lvl="0" indent="0" algn="l" defTabSz="4552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ヒラギノ角ゴ Pro W3" charset="-128"/>
              <a:cs typeface="+mn-cs"/>
            </a:endParaRPr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135" tIns="46067" rIns="92135" bIns="46067" numCol="1" anchor="b" anchorCtr="0" compatLnSpc="1"/>
          <a:lstStyle/>
          <a:p>
            <a:pPr lvl="0" algn="r" eaLnBrk="1" hangingPunct="1"/>
            <a:fld id="{9A0DB2DC-4C9A-4742-B13C-FB6460FD3503}" type="slidenum">
              <a:rPr lang="ja-JP" altLang="en-US" sz="1200" dirty="0"/>
            </a:fld>
            <a:endParaRPr lang="ja-JP" altLang="en-US" sz="12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 txBox="1">
            <a:spLocks noGrp="1"/>
          </p:cNvSpPr>
          <p:nvPr/>
        </p:nvSpPr>
        <p:spPr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</a:ln>
        </p:spPr>
        <p:txBody>
          <a:bodyPr lIns="92208" tIns="46104" rIns="92208" bIns="46104" anchor="b"/>
          <a:lstStyle/>
          <a:p>
            <a:pPr lvl="0" algn="r" defTabSz="900430" eaLnBrk="1" hangingPunct="1"/>
            <a:fld id="{9A0DB2DC-4C9A-4742-B13C-FB6460FD3503}" type="slidenum">
              <a:rPr lang="ja-JP" altLang="en-US" sz="12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</a:fld>
            <a:endParaRPr lang="ja-JP" altLang="en-US" sz="12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5059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09613" y="742950"/>
            <a:ext cx="5383212" cy="3727450"/>
          </a:xfrm>
        </p:spPr>
      </p:sp>
      <p:sp>
        <p:nvSpPr>
          <p:cNvPr id="45060" name="Rectangle 3"/>
          <p:cNvSpPr>
            <a:spLocks noGrp="1"/>
          </p:cNvSpPr>
          <p:nvPr>
            <p:ph type="body"/>
          </p:nvPr>
        </p:nvSpPr>
        <p:spPr>
          <a:xfrm>
            <a:off x="679450" y="4716463"/>
            <a:ext cx="5440363" cy="4468812"/>
          </a:xfrm>
        </p:spPr>
        <p:txBody>
          <a:bodyPr wrap="square" lIns="92208" tIns="46104" rIns="92208" bIns="46104" anchor="t"/>
          <a:lstStyle/>
          <a:p>
            <a:pPr lvl="0">
              <a:spcBef>
                <a:spcPct val="0"/>
              </a:spcBef>
            </a:pPr>
            <a:endParaRPr lang="ja-JP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 txBox="1">
            <a:spLocks noGrp="1"/>
          </p:cNvSpPr>
          <p:nvPr/>
        </p:nvSpPr>
        <p:spPr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</a:ln>
        </p:spPr>
        <p:txBody>
          <a:bodyPr lIns="92208" tIns="46104" rIns="92208" bIns="46104" anchor="b"/>
          <a:lstStyle/>
          <a:p>
            <a:pPr lvl="0" algn="r" defTabSz="900430" eaLnBrk="1" hangingPunct="1"/>
            <a:fld id="{9A0DB2DC-4C9A-4742-B13C-FB6460FD3503}" type="slidenum">
              <a:rPr lang="ja-JP" altLang="en-US" sz="1200" dirty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</a:fld>
            <a:endParaRPr lang="ja-JP" altLang="en-US" sz="1200" dirty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1987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09613" y="742950"/>
            <a:ext cx="5383212" cy="3727450"/>
          </a:xfrm>
        </p:spPr>
      </p:sp>
      <p:sp>
        <p:nvSpPr>
          <p:cNvPr id="41988" name="Rectangle 3"/>
          <p:cNvSpPr>
            <a:spLocks noGrp="1"/>
          </p:cNvSpPr>
          <p:nvPr>
            <p:ph type="body"/>
          </p:nvPr>
        </p:nvSpPr>
        <p:spPr>
          <a:xfrm>
            <a:off x="679450" y="4716463"/>
            <a:ext cx="5440363" cy="4468812"/>
          </a:xfrm>
        </p:spPr>
        <p:txBody>
          <a:bodyPr wrap="square" lIns="92208" tIns="46104" rIns="92208" bIns="46104" anchor="t"/>
          <a:lstStyle/>
          <a:p>
            <a:pPr lvl="0">
              <a:spcBef>
                <a:spcPct val="0"/>
              </a:spcBef>
            </a:pPr>
            <a:endParaRPr lang="ja-JP" altLang="en-US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</p:spPr>
      </p:sp>
      <p:sp>
        <p:nvSpPr>
          <p:cNvPr id="46083" name="Rectangle 3"/>
          <p:cNvSpPr>
            <a:spLocks noGrp="1"/>
          </p:cNvSpPr>
          <p:nvPr>
            <p:ph type="body"/>
          </p:nvPr>
        </p:nvSpPr>
        <p:spPr>
          <a:xfrm>
            <a:off x="677863" y="4716463"/>
            <a:ext cx="5443537" cy="4468812"/>
          </a:xfrm>
        </p:spPr>
        <p:txBody>
          <a:bodyPr wrap="square" lIns="92135" tIns="46067" rIns="92135" bIns="46067" anchor="t"/>
          <a:lstStyle/>
          <a:p>
            <a:pPr lvl="0"/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09613" y="742950"/>
            <a:ext cx="5383212" cy="3727450"/>
          </a:xfrm>
        </p:spPr>
      </p:sp>
      <p:sp>
        <p:nvSpPr>
          <p:cNvPr id="47107" name="Rectangle 3"/>
          <p:cNvSpPr>
            <a:spLocks noGrp="1"/>
          </p:cNvSpPr>
          <p:nvPr>
            <p:ph type="body"/>
          </p:nvPr>
        </p:nvSpPr>
        <p:spPr>
          <a:xfrm>
            <a:off x="906463" y="4716463"/>
            <a:ext cx="4986337" cy="4470400"/>
          </a:xfrm>
        </p:spPr>
        <p:txBody>
          <a:bodyPr wrap="square" lIns="92217" tIns="46109" rIns="92217" bIns="46109" anchor="t"/>
          <a:lstStyle/>
          <a:p>
            <a:pPr lvl="0"/>
            <a:endParaRPr lang="en-US" altLang="zh-CN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幻灯片图像占位符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8131" name="备注占位符 2"/>
          <p:cNvSpPr>
            <a:spLocks noGrp="1"/>
          </p:cNvSpPr>
          <p:nvPr>
            <p:ph type="body"/>
          </p:nvPr>
        </p:nvSpPr>
        <p:spPr>
          <a:xfrm>
            <a:off x="679450" y="4716463"/>
            <a:ext cx="5440363" cy="4468812"/>
          </a:xfrm>
        </p:spPr>
        <p:txBody>
          <a:bodyPr wrap="square" lIns="92135" tIns="46067" rIns="92135" bIns="46067" anchor="t"/>
          <a:lstStyle/>
          <a:p>
            <a:pPr lvl="0"/>
            <a:endParaRPr lang="zh-CN" altLang="en-US" dirty="0"/>
          </a:p>
        </p:txBody>
      </p:sp>
      <p:sp>
        <p:nvSpPr>
          <p:cNvPr id="48132" name="灯片编号占位符 3"/>
          <p:cNvSpPr txBox="1">
            <a:spLocks noGrp="1"/>
          </p:cNvSpPr>
          <p:nvPr>
            <p:ph type="sldNum" sz="quarter"/>
          </p:nvPr>
        </p:nvSpPr>
        <p:spPr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</a:ln>
        </p:spPr>
        <p:txBody>
          <a:bodyPr lIns="92135" tIns="46067" rIns="92135" bIns="46067" anchor="b"/>
          <a:lstStyle/>
          <a:p>
            <a:pPr lvl="0" eaLnBrk="1" hangingPunct="1"/>
            <a:fld id="{9A0DB2DC-4C9A-4742-B13C-FB6460FD3503}" type="slidenum">
              <a:rPr lang="zh-CN" altLang="en-US" dirty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49155" name="备注占位符 2"/>
          <p:cNvSpPr>
            <a:spLocks noGrp="1"/>
          </p:cNvSpPr>
          <p:nvPr>
            <p:ph type="body"/>
          </p:nvPr>
        </p:nvSpPr>
        <p:spPr>
          <a:xfrm>
            <a:off x="679450" y="4716463"/>
            <a:ext cx="5440363" cy="4468812"/>
          </a:xfrm>
        </p:spPr>
        <p:txBody>
          <a:bodyPr wrap="square" lIns="92135" tIns="46067" rIns="92135" bIns="46067" anchor="t"/>
          <a:lstStyle/>
          <a:p>
            <a:pPr lvl="0"/>
            <a:endParaRPr lang="zh-CN" altLang="en-US" dirty="0"/>
          </a:p>
        </p:txBody>
      </p:sp>
      <p:sp>
        <p:nvSpPr>
          <p:cNvPr id="49156" name="灯片编号占位符 3"/>
          <p:cNvSpPr txBox="1">
            <a:spLocks noGrp="1"/>
          </p:cNvSpPr>
          <p:nvPr>
            <p:ph type="sldNum" sz="quarter"/>
          </p:nvPr>
        </p:nvSpPr>
        <p:spPr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</a:ln>
        </p:spPr>
        <p:txBody>
          <a:bodyPr lIns="92135" tIns="46067" rIns="92135" bIns="46067" anchor="b"/>
          <a:lstStyle/>
          <a:p>
            <a:pPr lvl="0" eaLnBrk="1" hangingPunct="1"/>
            <a:fld id="{9A0DB2DC-4C9A-4742-B13C-FB6460FD3503}" type="slidenum">
              <a:rPr lang="zh-CN" altLang="en-US" dirty="0"/>
            </a:fld>
            <a:endParaRPr lang="zh-CN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タイトル スライド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図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0538" y="0"/>
            <a:ext cx="6886575" cy="68865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2" name="テキスト ボックス 3"/>
          <p:cNvSpPr txBox="1"/>
          <p:nvPr/>
        </p:nvSpPr>
        <p:spPr>
          <a:xfrm>
            <a:off x="4864100" y="6007100"/>
            <a:ext cx="3535363" cy="366713"/>
          </a:xfrm>
          <a:prstGeom prst="rect">
            <a:avLst/>
          </a:prstGeom>
          <a:noFill/>
        </p:spPr>
        <p:txBody>
          <a:bodyPr lIns="91438" tIns="45718" rIns="91438" bIns="45718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uzhou JDI Electronics Inc.</a:t>
            </a:r>
            <a:endParaRPr kumimoji="1" lang="en-US" altLang="en-US" sz="1800" b="1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3076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5175" y="2849563"/>
            <a:ext cx="1187450" cy="330676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4" name="テキスト ボックス 44"/>
          <p:cNvSpPr txBox="1">
            <a:spLocks noChangeArrowheads="1"/>
          </p:cNvSpPr>
          <p:nvPr/>
        </p:nvSpPr>
        <p:spPr bwMode="auto">
          <a:xfrm>
            <a:off x="8159750" y="633413"/>
            <a:ext cx="1079500" cy="27463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38" tIns="45718" rIns="91438" bIns="4571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284730" indent="1905" defTabSz="455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741930" indent="1905" defTabSz="455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199130" indent="1905" defTabSz="455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656330" indent="1905" defTabSz="455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ja-JP" sz="12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ヒラギノ角ゴ Pro W3"/>
              </a:rPr>
              <a:t>Confidential</a:t>
            </a:r>
            <a:endParaRPr kumimoji="0" lang="ja-JP" altLang="en-US" sz="1200" b="1" i="0" u="none" strike="noStrike" kern="120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3483429" y="2849564"/>
            <a:ext cx="5958376" cy="661986"/>
          </a:xfrm>
        </p:spPr>
        <p:txBody>
          <a:bodyPr/>
          <a:lstStyle>
            <a:lvl1pPr algn="ctr">
              <a:defRPr sz="2800" b="1">
                <a:solidFill>
                  <a:srgbClr val="000000"/>
                </a:solidFill>
              </a:defRPr>
            </a:lvl1pPr>
          </a:lstStyle>
          <a:p>
            <a:r>
              <a:rPr lang="ja-JP" altLang="en-US" noProof="1" smtClean="0"/>
              <a:t>マスター タイトルの書式設定</a:t>
            </a:r>
            <a:endParaRPr lang="ja-JP" altLang="en-US" noProof="1"/>
          </a:p>
        </p:txBody>
      </p:sp>
      <p:sp>
        <p:nvSpPr>
          <p:cNvPr id="15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3482975" y="3511550"/>
            <a:ext cx="5959475" cy="344488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</a:lstStyle>
          <a:p>
            <a:pPr marL="0" marR="0" indent="0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defRPr/>
            </a:pPr>
            <a:r>
              <a:rPr kumimoji="1" lang="ja-JP" altLang="en-US" i="0" kern="1200" cap="none" spc="0" normalizeH="0" baseline="0" noProof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2012/4/30</a:t>
            </a:r>
            <a:endParaRPr kumimoji="1" lang="en-US" altLang="ja-JP" i="0" kern="1200" cap="none" spc="0" normalizeH="0" baseline="0" noProof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 showMasterSp="0">
  <p:cSld name="タイトルとコンテンツ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/>
          <p:cNvSpPr/>
          <p:nvPr/>
        </p:nvSpPr>
        <p:spPr>
          <a:xfrm>
            <a:off x="0" y="217488"/>
            <a:ext cx="9906000" cy="479425"/>
          </a:xfrm>
          <a:prstGeom prst="rect">
            <a:avLst/>
          </a:prstGeom>
          <a:solidFill>
            <a:srgbClr val="0055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ヒラギノ角ゴ Pro W3"/>
            </a:endParaRPr>
          </a:p>
        </p:txBody>
      </p:sp>
      <p:sp>
        <p:nvSpPr>
          <p:cNvPr id="12" name="スライド番号プレースホルダ 5"/>
          <p:cNvSpPr txBox="1">
            <a:spLocks noChangeArrowheads="1"/>
          </p:cNvSpPr>
          <p:nvPr/>
        </p:nvSpPr>
        <p:spPr bwMode="auto">
          <a:xfrm>
            <a:off x="9359900" y="6573838"/>
            <a:ext cx="498475" cy="31115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 algn="ctr" eaLnBrk="1" hangingPunct="1"/>
            <a:fld id="{9A0DB2DC-4C9A-4742-B13C-FB6460FD3503}" type="slidenum">
              <a:rPr lang="ja-JP" altLang="en-US" sz="1000" dirty="0">
                <a:solidFill>
                  <a:srgbClr val="000000"/>
                </a:solidFill>
                <a:ea typeface="Arial" panose="020B0604020202020204" pitchFamily="34" charset="0"/>
              </a:rPr>
            </a:fld>
            <a:endParaRPr lang="ja-JP" altLang="en-US" sz="1000" dirty="0">
              <a:solidFill>
                <a:srgbClr val="000000"/>
              </a:solidFill>
              <a:ea typeface="Arial" panose="020B0604020202020204" pitchFamily="34" charset="0"/>
            </a:endParaRPr>
          </a:p>
        </p:txBody>
      </p:sp>
      <p:grpSp>
        <p:nvGrpSpPr>
          <p:cNvPr id="4100" name="グループ化 4"/>
          <p:cNvGrpSpPr/>
          <p:nvPr userDrawn="1"/>
        </p:nvGrpSpPr>
        <p:grpSpPr>
          <a:xfrm>
            <a:off x="0" y="6462713"/>
            <a:ext cx="9906000" cy="458787"/>
            <a:chOff x="0" y="6463506"/>
            <a:chExt cx="9906000" cy="457994"/>
          </a:xfrm>
        </p:grpSpPr>
        <p:sp>
          <p:nvSpPr>
            <p:cNvPr id="14" name="フッター プレースホルダ 4"/>
            <p:cNvSpPr txBox="1"/>
            <p:nvPr/>
          </p:nvSpPr>
          <p:spPr>
            <a:xfrm>
              <a:off x="6610350" y="6639413"/>
              <a:ext cx="2833688" cy="282087"/>
            </a:xfrm>
            <a:prstGeom prst="rect">
              <a:avLst/>
            </a:prstGeom>
          </p:spPr>
          <p:txBody>
            <a:bodyPr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charset="-128"/>
                  <a:cs typeface="Arial" panose="020B0604020202020204" pitchFamily="34" charset="0"/>
                </a:rPr>
                <a:t>Copyright © 2012 Japan Display Inc. All Rights Reserved.</a:t>
              </a:r>
              <a:endParaRPr kumimoji="1" lang="ja-JP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endParaRPr>
            </a:p>
          </p:txBody>
        </p:sp>
        <p:cxnSp>
          <p:nvCxnSpPr>
            <p:cNvPr id="15" name="直線コネクタ 13"/>
            <p:cNvCxnSpPr/>
            <p:nvPr/>
          </p:nvCxnSpPr>
          <p:spPr>
            <a:xfrm>
              <a:off x="0" y="6463506"/>
              <a:ext cx="9906000" cy="0"/>
            </a:xfrm>
            <a:prstGeom prst="line">
              <a:avLst/>
            </a:prstGeom>
            <a:ln>
              <a:solidFill>
                <a:srgbClr val="00558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4105" name="コンテンツ プレースホルダー 1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72812" y="6518403"/>
              <a:ext cx="1827415" cy="315145"/>
            </a:xfrm>
            <a:prstGeom prst="rect">
              <a:avLst/>
            </a:prstGeom>
            <a:noFill/>
            <a:ln w="9525">
              <a:noFill/>
            </a:ln>
          </p:spPr>
        </p:pic>
      </p:grpSp>
      <p:sp>
        <p:nvSpPr>
          <p:cNvPr id="17" name="テキスト ボックス 28"/>
          <p:cNvSpPr txBox="1">
            <a:spLocks noChangeArrowheads="1"/>
          </p:cNvSpPr>
          <p:nvPr/>
        </p:nvSpPr>
        <p:spPr bwMode="auto">
          <a:xfrm>
            <a:off x="8618538" y="6488113"/>
            <a:ext cx="815975" cy="215900"/>
          </a:xfrm>
          <a:prstGeom prst="rect">
            <a:avLst/>
          </a:prstGeom>
          <a:noFill/>
          <a:ln>
            <a:noFill/>
          </a:ln>
        </p:spPr>
        <p:txBody>
          <a:bodyPr lIns="91438" tIns="45718" rIns="91438" bIns="45718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ja-JP" sz="8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rPr>
              <a:t>Confidential</a:t>
            </a:r>
            <a:endParaRPr kumimoji="1" lang="ja-JP" altLang="en-US" sz="800" b="1" i="0" u="none" strike="noStrike" kern="120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Arial" panose="020B0604020202020204" pitchFamily="34" charset="0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91885" y="224439"/>
            <a:ext cx="9076871" cy="4318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ja-JP" altLang="en-US" noProof="1" smtClean="0"/>
              <a:t>マスター タイトルの書式設定</a:t>
            </a:r>
            <a:endParaRPr lang="ja-JP" altLang="en-US" noProof="1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06399" y="957944"/>
            <a:ext cx="9062357" cy="521062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ja-JP" altLang="en-US" noProof="1" smtClean="0"/>
              <a:t>マスター テキストの書式設定</a:t>
            </a:r>
            <a:endParaRPr lang="ja-JP" altLang="en-US" noProof="1" smtClean="0"/>
          </a:p>
          <a:p>
            <a:pPr lvl="1"/>
            <a:r>
              <a:rPr lang="ja-JP" altLang="en-US" noProof="1" smtClean="0"/>
              <a:t>第 </a:t>
            </a:r>
            <a:r>
              <a:rPr lang="en-US" altLang="ja-JP" noProof="1" smtClean="0"/>
              <a:t>2 </a:t>
            </a:r>
            <a:r>
              <a:rPr lang="ja-JP" altLang="en-US" noProof="1" smtClean="0"/>
              <a:t>レベル</a:t>
            </a:r>
            <a:endParaRPr lang="ja-JP" altLang="en-US" noProof="1" smtClean="0"/>
          </a:p>
          <a:p>
            <a:pPr lvl="2"/>
            <a:r>
              <a:rPr lang="ja-JP" altLang="en-US" noProof="1" smtClean="0"/>
              <a:t>第 </a:t>
            </a:r>
            <a:r>
              <a:rPr lang="en-US" altLang="ja-JP" noProof="1" smtClean="0"/>
              <a:t>3 </a:t>
            </a:r>
            <a:r>
              <a:rPr lang="ja-JP" altLang="en-US" noProof="1" smtClean="0"/>
              <a:t>レベル</a:t>
            </a:r>
            <a:endParaRPr lang="ja-JP" altLang="en-US" noProof="1" smtClean="0"/>
          </a:p>
          <a:p>
            <a:pPr lvl="3"/>
            <a:r>
              <a:rPr lang="ja-JP" altLang="en-US" noProof="1" smtClean="0"/>
              <a:t>第 </a:t>
            </a:r>
            <a:r>
              <a:rPr lang="en-US" altLang="ja-JP" noProof="1" smtClean="0"/>
              <a:t>4 </a:t>
            </a:r>
            <a:r>
              <a:rPr lang="ja-JP" altLang="en-US" noProof="1" smtClean="0"/>
              <a:t>レベル</a:t>
            </a:r>
            <a:endParaRPr lang="ja-JP" altLang="en-US" noProof="1" smtClean="0"/>
          </a:p>
          <a:p>
            <a:pPr lvl="4"/>
            <a:r>
              <a:rPr lang="ja-JP" altLang="en-US" noProof="1" smtClean="0"/>
              <a:t>第 </a:t>
            </a:r>
            <a:r>
              <a:rPr lang="en-US" altLang="ja-JP" noProof="1" smtClean="0"/>
              <a:t>5 </a:t>
            </a:r>
            <a:r>
              <a:rPr lang="ja-JP" altLang="en-US" noProof="1" smtClean="0"/>
              <a:t>レベル</a:t>
            </a:r>
            <a:endParaRPr lang="ja-JP" altLang="en-US" noProof="1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 10"/>
          <p:cNvSpPr/>
          <p:nvPr/>
        </p:nvSpPr>
        <p:spPr>
          <a:xfrm>
            <a:off x="3282950" y="-3175"/>
            <a:ext cx="3241675" cy="787400"/>
          </a:xfrm>
          <a:custGeom>
            <a:avLst/>
            <a:gdLst>
              <a:gd name="connsiteX0" fmla="*/ 0 w 6165821"/>
              <a:gd name="connsiteY0" fmla="*/ 0 h 1216983"/>
              <a:gd name="connsiteX1" fmla="*/ 6165821 w 6165821"/>
              <a:gd name="connsiteY1" fmla="*/ 0 h 1216983"/>
              <a:gd name="connsiteX2" fmla="*/ 5459970 w 6165821"/>
              <a:gd name="connsiteY2" fmla="*/ 1216983 h 1216983"/>
              <a:gd name="connsiteX3" fmla="*/ 0 w 6165821"/>
              <a:gd name="connsiteY3" fmla="*/ 1216983 h 121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821" h="1216983">
                <a:moveTo>
                  <a:pt x="0" y="0"/>
                </a:moveTo>
                <a:lnTo>
                  <a:pt x="6165821" y="0"/>
                </a:lnTo>
                <a:lnTo>
                  <a:pt x="5459970" y="1216983"/>
                </a:lnTo>
                <a:lnTo>
                  <a:pt x="0" y="1216983"/>
                </a:lnTo>
                <a:close/>
              </a:path>
            </a:pathLst>
          </a:custGeom>
          <a:gradFill>
            <a:gsLst>
              <a:gs pos="0">
                <a:srgbClr val="0F2437"/>
              </a:gs>
              <a:gs pos="100000">
                <a:srgbClr val="284D7A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0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等腰三角形 11"/>
          <p:cNvSpPr/>
          <p:nvPr/>
        </p:nvSpPr>
        <p:spPr>
          <a:xfrm>
            <a:off x="2995613" y="-14287"/>
            <a:ext cx="752475" cy="798513"/>
          </a:xfrm>
          <a:prstGeom prst="triangle">
            <a:avLst/>
          </a:prstGeom>
          <a:gradFill>
            <a:gsLst>
              <a:gs pos="0">
                <a:srgbClr val="0F2437"/>
              </a:gs>
              <a:gs pos="100000">
                <a:srgbClr val="284D7A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0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等腰三角形 12"/>
          <p:cNvSpPr/>
          <p:nvPr/>
        </p:nvSpPr>
        <p:spPr>
          <a:xfrm flipV="1">
            <a:off x="2619375" y="-3175"/>
            <a:ext cx="752475" cy="798513"/>
          </a:xfrm>
          <a:prstGeom prst="triangle">
            <a:avLst/>
          </a:prstGeom>
          <a:gradFill>
            <a:gsLst>
              <a:gs pos="0">
                <a:srgbClr val="0F2437"/>
              </a:gs>
              <a:gs pos="100000">
                <a:srgbClr val="284D7A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0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等腰三角形 13"/>
          <p:cNvSpPr/>
          <p:nvPr/>
        </p:nvSpPr>
        <p:spPr>
          <a:xfrm flipV="1">
            <a:off x="6527800" y="-3175"/>
            <a:ext cx="752475" cy="798513"/>
          </a:xfrm>
          <a:prstGeom prst="triangle">
            <a:avLst/>
          </a:prstGeom>
          <a:gradFill>
            <a:gsLst>
              <a:gs pos="0">
                <a:srgbClr val="0F2437"/>
              </a:gs>
              <a:gs pos="100000">
                <a:srgbClr val="284D7A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0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日期占位符 1"/>
          <p:cNvSpPr>
            <a:spLocks noGrp="1"/>
          </p:cNvSpPr>
          <p:nvPr>
            <p:ph type="dt" sz="half" idx="2"/>
          </p:nvPr>
        </p:nvSpPr>
        <p:spPr>
          <a:xfrm>
            <a:off x="8435975" y="-3175"/>
            <a:ext cx="1184275" cy="220663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>
              <a:defRPr noProof="1" smtClean="0"/>
            </a:lvl1pPr>
          </a:lstStyle>
          <a:p>
            <a:pPr marL="0" marR="0" indent="0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defRPr/>
            </a:pPr>
            <a:endParaRPr kumimoji="1" lang="zh-CN" altLang="en-US" b="0" i="0" kern="1200" cap="none" spc="0" normalizeH="0" baseline="0" noProof="1"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6" name="页脚占位符 2"/>
          <p:cNvSpPr>
            <a:spLocks noGrp="1"/>
          </p:cNvSpPr>
          <p:nvPr>
            <p:ph type="ftr" sz="quarter" idx="3"/>
          </p:nvPr>
        </p:nvSpPr>
        <p:spPr>
          <a:xfrm>
            <a:off x="3384550" y="6486525"/>
            <a:ext cx="3136900" cy="365125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>
              <a:defRPr noProof="1"/>
            </a:lvl1pPr>
          </a:lstStyle>
          <a:p>
            <a:pPr marL="0" marR="0" indent="0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defRPr/>
            </a:pPr>
            <a:endParaRPr kumimoji="1" lang="zh-CN" altLang="en-US" b="0" i="0" kern="1200" cap="none" spc="0" normalizeH="0" baseline="0" noProof="1">
              <a:latin typeface="Calibri" panose="020F0502020204030204" pitchFamily="34" charset="0"/>
              <a:ea typeface="MS PGothic" panose="020B0600070205080204" pitchFamily="34" charset="-128"/>
              <a:cs typeface="ヒラギノ角ゴ Pro W3"/>
            </a:endParaRPr>
          </a:p>
        </p:txBody>
      </p:sp>
      <p:sp>
        <p:nvSpPr>
          <p:cNvPr id="17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</p:spPr>
        <p:txBody>
          <a:bodyPr vert="horz" wrap="square" lIns="91440" tIns="45720" rIns="91440" bIns="45720" numCol="1" anchor="t" anchorCtr="0" compatLnSpc="1"/>
          <a:lstStyle/>
          <a:p>
            <a:pPr lvl="0" eaLnBrk="1" hangingPunct="1"/>
            <a:fld id="{9A0DB2DC-4C9A-4742-B13C-FB6460FD3503}" type="slidenum">
              <a:rPr lang="zh-CN" altLang="en-US" dirty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タイトル スライド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図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0538" y="0"/>
            <a:ext cx="6886575" cy="68865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2" name="テキスト ボックス 3"/>
          <p:cNvSpPr txBox="1"/>
          <p:nvPr/>
        </p:nvSpPr>
        <p:spPr>
          <a:xfrm>
            <a:off x="4864100" y="6007100"/>
            <a:ext cx="3535363" cy="366713"/>
          </a:xfrm>
          <a:prstGeom prst="rect">
            <a:avLst/>
          </a:prstGeom>
          <a:noFill/>
        </p:spPr>
        <p:txBody>
          <a:bodyPr lIns="91438" tIns="45718" rIns="91438" bIns="45718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uzhou JDI Electronics Inc.</a:t>
            </a:r>
            <a:endParaRPr kumimoji="1" lang="en-US" altLang="en-US" sz="1800" b="1" i="0" u="none" strike="noStrike" kern="120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6148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5175" y="2849563"/>
            <a:ext cx="1187450" cy="330676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4" name="テキスト ボックス 44"/>
          <p:cNvSpPr txBox="1">
            <a:spLocks noChangeArrowheads="1"/>
          </p:cNvSpPr>
          <p:nvPr/>
        </p:nvSpPr>
        <p:spPr bwMode="auto">
          <a:xfrm>
            <a:off x="8159750" y="633413"/>
            <a:ext cx="1079500" cy="27463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lIns="91438" tIns="45718" rIns="91438" bIns="4571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284730" indent="1905" defTabSz="455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741930" indent="1905" defTabSz="455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199130" indent="1905" defTabSz="455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656330" indent="1905" defTabSz="45529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ja-JP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ヒラギノ角ゴ Pro W3"/>
              </a:rPr>
              <a:t>Confidential</a:t>
            </a:r>
            <a:endParaRPr kumimoji="0" lang="ja-JP" altLang="en-US" sz="1200" b="1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3483429" y="2849564"/>
            <a:ext cx="5958376" cy="661986"/>
          </a:xfrm>
        </p:spPr>
        <p:txBody>
          <a:bodyPr/>
          <a:lstStyle>
            <a:lvl1pPr algn="ctr">
              <a:defRPr sz="2800" b="1">
                <a:solidFill>
                  <a:srgbClr val="000000"/>
                </a:solidFill>
              </a:defRPr>
            </a:lvl1pPr>
          </a:lstStyle>
          <a:p>
            <a:r>
              <a:rPr lang="ja-JP" altLang="en-US" noProof="1" smtClean="0"/>
              <a:t>マスター タイトルの書式設定</a:t>
            </a:r>
            <a:endParaRPr lang="ja-JP" altLang="en-US" noProof="1"/>
          </a:p>
        </p:txBody>
      </p:sp>
      <p:sp>
        <p:nvSpPr>
          <p:cNvPr id="15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3482975" y="3511550"/>
            <a:ext cx="5959475" cy="344488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</a:lstStyle>
          <a:p>
            <a:pPr marL="0" marR="0" indent="0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defRPr/>
            </a:pPr>
            <a:r>
              <a:rPr kumimoji="1" lang="ja-JP" altLang="en-US" i="0" kern="1200" cap="none" spc="0" normalizeH="0" baseline="0" noProof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2012/4/30</a:t>
            </a:r>
            <a:endParaRPr kumimoji="1" lang="en-US" altLang="ja-JP" i="0" kern="1200" cap="none" spc="0" normalizeH="0" baseline="0" noProof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 showMasterSp="0">
  <p:cSld name="タイトルとコンテンツ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/>
          <p:cNvSpPr/>
          <p:nvPr/>
        </p:nvSpPr>
        <p:spPr>
          <a:xfrm>
            <a:off x="0" y="217488"/>
            <a:ext cx="9906000" cy="479425"/>
          </a:xfrm>
          <a:prstGeom prst="rect">
            <a:avLst/>
          </a:prstGeom>
          <a:solidFill>
            <a:srgbClr val="0055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ヒラギノ角ゴ Pro W3"/>
            </a:endParaRPr>
          </a:p>
        </p:txBody>
      </p:sp>
      <p:sp>
        <p:nvSpPr>
          <p:cNvPr id="12" name="スライド番号プレースホルダ 5"/>
          <p:cNvSpPr txBox="1">
            <a:spLocks noChangeArrowheads="1"/>
          </p:cNvSpPr>
          <p:nvPr/>
        </p:nvSpPr>
        <p:spPr bwMode="auto">
          <a:xfrm>
            <a:off x="9359900" y="6573838"/>
            <a:ext cx="498475" cy="31115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 algn="ctr" eaLnBrk="1" hangingPunct="1"/>
            <a:fld id="{9A0DB2DC-4C9A-4742-B13C-FB6460FD3503}" type="slidenum">
              <a:rPr lang="ja-JP" altLang="en-US" sz="1000" dirty="0">
                <a:solidFill>
                  <a:srgbClr val="000000"/>
                </a:solidFill>
                <a:ea typeface="Arial" panose="020B0604020202020204" pitchFamily="34" charset="0"/>
              </a:rPr>
            </a:fld>
            <a:endParaRPr lang="ja-JP" altLang="en-US" sz="1000" dirty="0">
              <a:solidFill>
                <a:srgbClr val="000000"/>
              </a:solidFill>
              <a:ea typeface="Arial" panose="020B0604020202020204" pitchFamily="34" charset="0"/>
            </a:endParaRPr>
          </a:p>
        </p:txBody>
      </p:sp>
      <p:grpSp>
        <p:nvGrpSpPr>
          <p:cNvPr id="7172" name="グループ化 4"/>
          <p:cNvGrpSpPr/>
          <p:nvPr userDrawn="1"/>
        </p:nvGrpSpPr>
        <p:grpSpPr>
          <a:xfrm>
            <a:off x="0" y="6462713"/>
            <a:ext cx="9906000" cy="458787"/>
            <a:chOff x="0" y="6463506"/>
            <a:chExt cx="9906000" cy="457994"/>
          </a:xfrm>
        </p:grpSpPr>
        <p:sp>
          <p:nvSpPr>
            <p:cNvPr id="14" name="フッター プレースホルダ 4"/>
            <p:cNvSpPr txBox="1"/>
            <p:nvPr/>
          </p:nvSpPr>
          <p:spPr>
            <a:xfrm>
              <a:off x="6610350" y="6639413"/>
              <a:ext cx="2833688" cy="282087"/>
            </a:xfrm>
            <a:prstGeom prst="rect">
              <a:avLst/>
            </a:prstGeom>
          </p:spPr>
          <p:txBody>
            <a:bodyPr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charset="-128"/>
                  <a:cs typeface="Arial" panose="020B0604020202020204" pitchFamily="34" charset="0"/>
                </a:rPr>
                <a:t>Copyright © 2012 Japan Display Inc. All Rights Reserved.</a:t>
              </a:r>
              <a:endParaRPr kumimoji="1" lang="ja-JP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endParaRPr>
            </a:p>
          </p:txBody>
        </p:sp>
        <p:cxnSp>
          <p:nvCxnSpPr>
            <p:cNvPr id="15" name="直線コネクタ 13"/>
            <p:cNvCxnSpPr/>
            <p:nvPr/>
          </p:nvCxnSpPr>
          <p:spPr>
            <a:xfrm>
              <a:off x="0" y="6463506"/>
              <a:ext cx="9906000" cy="0"/>
            </a:xfrm>
            <a:prstGeom prst="line">
              <a:avLst/>
            </a:prstGeom>
            <a:ln>
              <a:solidFill>
                <a:srgbClr val="00558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7177" name="コンテンツ プレースホルダー 1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72812" y="6518403"/>
              <a:ext cx="1827415" cy="315145"/>
            </a:xfrm>
            <a:prstGeom prst="rect">
              <a:avLst/>
            </a:prstGeom>
            <a:noFill/>
            <a:ln w="9525">
              <a:noFill/>
            </a:ln>
          </p:spPr>
        </p:pic>
      </p:grpSp>
      <p:sp>
        <p:nvSpPr>
          <p:cNvPr id="17" name="テキスト ボックス 28"/>
          <p:cNvSpPr txBox="1">
            <a:spLocks noChangeArrowheads="1"/>
          </p:cNvSpPr>
          <p:nvPr/>
        </p:nvSpPr>
        <p:spPr bwMode="auto">
          <a:xfrm>
            <a:off x="8618538" y="6488113"/>
            <a:ext cx="815975" cy="215900"/>
          </a:xfrm>
          <a:prstGeom prst="rect">
            <a:avLst/>
          </a:prstGeom>
          <a:noFill/>
          <a:ln>
            <a:noFill/>
          </a:ln>
        </p:spPr>
        <p:txBody>
          <a:bodyPr lIns="91438" tIns="45718" rIns="91438" bIns="45718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defTabSz="455295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ja-JP" sz="8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rPr>
              <a:t>Confidential</a:t>
            </a:r>
            <a:endParaRPr kumimoji="1" lang="ja-JP" altLang="en-US" sz="800" b="1" i="0" u="none" strike="noStrike" kern="120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Arial" panose="020B0604020202020204" pitchFamily="34" charset="0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91885" y="224439"/>
            <a:ext cx="9076871" cy="4318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ja-JP" altLang="en-US" noProof="1" smtClean="0"/>
              <a:t>マスター タイトルの書式設定</a:t>
            </a:r>
            <a:endParaRPr lang="ja-JP" altLang="en-US" noProof="1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06399" y="957944"/>
            <a:ext cx="9062357" cy="5210627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ja-JP" altLang="en-US" noProof="1" smtClean="0"/>
              <a:t>マスター テキストの書式設定</a:t>
            </a:r>
            <a:endParaRPr lang="ja-JP" altLang="en-US" noProof="1" smtClean="0"/>
          </a:p>
          <a:p>
            <a:pPr lvl="1"/>
            <a:r>
              <a:rPr lang="ja-JP" altLang="en-US" noProof="1" smtClean="0"/>
              <a:t>第 </a:t>
            </a:r>
            <a:r>
              <a:rPr lang="en-US" altLang="ja-JP" noProof="1" smtClean="0"/>
              <a:t>2 </a:t>
            </a:r>
            <a:r>
              <a:rPr lang="ja-JP" altLang="en-US" noProof="1" smtClean="0"/>
              <a:t>レベル</a:t>
            </a:r>
            <a:endParaRPr lang="ja-JP" altLang="en-US" noProof="1" smtClean="0"/>
          </a:p>
          <a:p>
            <a:pPr lvl="2"/>
            <a:r>
              <a:rPr lang="ja-JP" altLang="en-US" noProof="1" smtClean="0"/>
              <a:t>第 </a:t>
            </a:r>
            <a:r>
              <a:rPr lang="en-US" altLang="ja-JP" noProof="1" smtClean="0"/>
              <a:t>3 </a:t>
            </a:r>
            <a:r>
              <a:rPr lang="ja-JP" altLang="en-US" noProof="1" smtClean="0"/>
              <a:t>レベル</a:t>
            </a:r>
            <a:endParaRPr lang="ja-JP" altLang="en-US" noProof="1" smtClean="0"/>
          </a:p>
          <a:p>
            <a:pPr lvl="3"/>
            <a:r>
              <a:rPr lang="ja-JP" altLang="en-US" noProof="1" smtClean="0"/>
              <a:t>第 </a:t>
            </a:r>
            <a:r>
              <a:rPr lang="en-US" altLang="ja-JP" noProof="1" smtClean="0"/>
              <a:t>4 </a:t>
            </a:r>
            <a:r>
              <a:rPr lang="ja-JP" altLang="en-US" noProof="1" smtClean="0"/>
              <a:t>レベル</a:t>
            </a:r>
            <a:endParaRPr lang="ja-JP" altLang="en-US" noProof="1" smtClean="0"/>
          </a:p>
          <a:p>
            <a:pPr lvl="4"/>
            <a:r>
              <a:rPr lang="ja-JP" altLang="en-US" noProof="1" smtClean="0"/>
              <a:t>第 </a:t>
            </a:r>
            <a:r>
              <a:rPr lang="en-US" altLang="ja-JP" noProof="1" smtClean="0"/>
              <a:t>5 </a:t>
            </a:r>
            <a:r>
              <a:rPr lang="ja-JP" altLang="en-US" noProof="1" smtClean="0"/>
              <a:t>レベル</a:t>
            </a:r>
            <a:endParaRPr lang="ja-JP" altLang="en-US" noProof="1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 10"/>
          <p:cNvSpPr/>
          <p:nvPr/>
        </p:nvSpPr>
        <p:spPr>
          <a:xfrm>
            <a:off x="3282950" y="-3175"/>
            <a:ext cx="3241675" cy="787400"/>
          </a:xfrm>
          <a:custGeom>
            <a:avLst/>
            <a:gdLst>
              <a:gd name="connsiteX0" fmla="*/ 0 w 6165821"/>
              <a:gd name="connsiteY0" fmla="*/ 0 h 1216983"/>
              <a:gd name="connsiteX1" fmla="*/ 6165821 w 6165821"/>
              <a:gd name="connsiteY1" fmla="*/ 0 h 1216983"/>
              <a:gd name="connsiteX2" fmla="*/ 5459970 w 6165821"/>
              <a:gd name="connsiteY2" fmla="*/ 1216983 h 1216983"/>
              <a:gd name="connsiteX3" fmla="*/ 0 w 6165821"/>
              <a:gd name="connsiteY3" fmla="*/ 1216983 h 121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821" h="1216983">
                <a:moveTo>
                  <a:pt x="0" y="0"/>
                </a:moveTo>
                <a:lnTo>
                  <a:pt x="6165821" y="0"/>
                </a:lnTo>
                <a:lnTo>
                  <a:pt x="5459970" y="1216983"/>
                </a:lnTo>
                <a:lnTo>
                  <a:pt x="0" y="1216983"/>
                </a:lnTo>
                <a:close/>
              </a:path>
            </a:pathLst>
          </a:custGeom>
          <a:gradFill>
            <a:gsLst>
              <a:gs pos="0">
                <a:srgbClr val="0F2437"/>
              </a:gs>
              <a:gs pos="100000">
                <a:srgbClr val="284D7A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等腰三角形 11"/>
          <p:cNvSpPr/>
          <p:nvPr/>
        </p:nvSpPr>
        <p:spPr>
          <a:xfrm>
            <a:off x="2995613" y="-14287"/>
            <a:ext cx="752475" cy="798513"/>
          </a:xfrm>
          <a:prstGeom prst="triangle">
            <a:avLst/>
          </a:prstGeom>
          <a:gradFill>
            <a:gsLst>
              <a:gs pos="0">
                <a:srgbClr val="0F2437"/>
              </a:gs>
              <a:gs pos="100000">
                <a:srgbClr val="284D7A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等腰三角形 12"/>
          <p:cNvSpPr/>
          <p:nvPr/>
        </p:nvSpPr>
        <p:spPr>
          <a:xfrm flipV="1">
            <a:off x="2619375" y="-3175"/>
            <a:ext cx="752475" cy="798513"/>
          </a:xfrm>
          <a:prstGeom prst="triangle">
            <a:avLst/>
          </a:prstGeom>
          <a:gradFill>
            <a:gsLst>
              <a:gs pos="0">
                <a:srgbClr val="0F2437"/>
              </a:gs>
              <a:gs pos="100000">
                <a:srgbClr val="284D7A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等腰三角形 13"/>
          <p:cNvSpPr/>
          <p:nvPr/>
        </p:nvSpPr>
        <p:spPr>
          <a:xfrm flipV="1">
            <a:off x="6527800" y="-3175"/>
            <a:ext cx="752475" cy="798513"/>
          </a:xfrm>
          <a:prstGeom prst="triangle">
            <a:avLst/>
          </a:prstGeom>
          <a:gradFill>
            <a:gsLst>
              <a:gs pos="0">
                <a:srgbClr val="0F2437"/>
              </a:gs>
              <a:gs pos="100000">
                <a:srgbClr val="284D7A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日期占位符 1"/>
          <p:cNvSpPr>
            <a:spLocks noGrp="1"/>
          </p:cNvSpPr>
          <p:nvPr>
            <p:ph type="dt" sz="half" idx="2"/>
          </p:nvPr>
        </p:nvSpPr>
        <p:spPr>
          <a:xfrm>
            <a:off x="8435975" y="-3175"/>
            <a:ext cx="1184275" cy="220663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>
              <a:defRPr noProof="1" smtClean="0"/>
            </a:lvl1pPr>
          </a:lstStyle>
          <a:p>
            <a:pPr marL="0" marR="0" indent="0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defRPr/>
            </a:pPr>
            <a:endParaRPr kumimoji="1" lang="zh-CN" altLang="en-US" b="0" i="0" kern="1200" cap="none" spc="0" normalizeH="0" baseline="0" noProof="1"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6" name="页脚占位符 2"/>
          <p:cNvSpPr>
            <a:spLocks noGrp="1"/>
          </p:cNvSpPr>
          <p:nvPr>
            <p:ph type="ftr" sz="quarter" idx="3"/>
          </p:nvPr>
        </p:nvSpPr>
        <p:spPr>
          <a:xfrm>
            <a:off x="3384550" y="6486525"/>
            <a:ext cx="3136900" cy="365125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>
              <a:defRPr noProof="1"/>
            </a:lvl1pPr>
          </a:lstStyle>
          <a:p>
            <a:pPr marL="0" marR="0" indent="0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defRPr/>
            </a:pPr>
            <a:endParaRPr kumimoji="1" lang="zh-CN" altLang="en-US" b="0" i="0" kern="1200" cap="none" spc="0" normalizeH="0" baseline="0" noProof="1">
              <a:latin typeface="Calibri" panose="020F0502020204030204" pitchFamily="34" charset="0"/>
              <a:ea typeface="MS PGothic" panose="020B0600070205080204" pitchFamily="34" charset="-128"/>
              <a:cs typeface="ヒラギノ角ゴ Pro W3"/>
            </a:endParaRPr>
          </a:p>
        </p:txBody>
      </p:sp>
      <p:sp>
        <p:nvSpPr>
          <p:cNvPr id="17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</p:spPr>
        <p:txBody>
          <a:bodyPr vert="horz" wrap="square" lIns="91440" tIns="45720" rIns="91440" bIns="45720" numCol="1" anchor="t" anchorCtr="0" compatLnSpc="1"/>
          <a:lstStyle/>
          <a:p>
            <a:pPr lvl="0" eaLnBrk="1" hangingPunct="1"/>
            <a:fld id="{9A0DB2DC-4C9A-4742-B13C-FB6460FD3503}" type="slidenum">
              <a:rPr lang="zh-CN" altLang="en-US" dirty="0">
                <a:solidFill>
                  <a:srgbClr val="000000"/>
                </a:solidFill>
              </a:rPr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5" Type="http://schemas.openxmlformats.org/officeDocument/2006/relationships/theme" Target="../theme/theme2.xml"/><Relationship Id="rId4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正方形/長方形 19"/>
          <p:cNvSpPr/>
          <p:nvPr/>
        </p:nvSpPr>
        <p:spPr>
          <a:xfrm>
            <a:off x="0" y="217488"/>
            <a:ext cx="9906000" cy="479425"/>
          </a:xfrm>
          <a:prstGeom prst="rect">
            <a:avLst/>
          </a:prstGeom>
          <a:solidFill>
            <a:srgbClr val="0055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ヒラギノ角ゴ Pro W3"/>
            </a:endParaRP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8435975" y="-3175"/>
            <a:ext cx="1184275" cy="220663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 algn="ctr" defTabSz="455295">
              <a:buFontTx/>
              <a:buNone/>
              <a:defRPr kumimoji="1" sz="1200">
                <a:solidFill>
                  <a:srgbClr val="898989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2012/</a:t>
            </a:r>
            <a:r>
              <a: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7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/</a:t>
            </a:r>
            <a:r>
              <a: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1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0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550" y="6486525"/>
            <a:ext cx="3136900" cy="365125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 algn="ctr" defTabSz="455295">
              <a:buFontTx/>
              <a:buNone/>
              <a:defRPr kumimoji="1" sz="1200">
                <a:solidFill>
                  <a:srgbClr val="898989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ヒラギノ角ゴ Pro W3"/>
            </a:endParaRPr>
          </a:p>
        </p:txBody>
      </p:sp>
      <p:sp>
        <p:nvSpPr>
          <p:cNvPr id="1029" name="タイトル プレースホルダ 1"/>
          <p:cNvSpPr>
            <a:spLocks noGrp="1"/>
          </p:cNvSpPr>
          <p:nvPr>
            <p:ph type="title"/>
          </p:nvPr>
        </p:nvSpPr>
        <p:spPr>
          <a:xfrm>
            <a:off x="290513" y="220663"/>
            <a:ext cx="9329737" cy="431800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/>
          <a:lstStyle/>
          <a:p>
            <a:pPr lvl="0"/>
            <a:r>
              <a:rPr lang="ja-JP" altLang="en-US" dirty="0"/>
              <a:t>マスタ タイトルの書式設定</a:t>
            </a:r>
            <a:endParaRPr lang="ja-JP" altLang="en-US" dirty="0"/>
          </a:p>
        </p:txBody>
      </p:sp>
      <p:sp>
        <p:nvSpPr>
          <p:cNvPr id="1030" name="スライド番号プレースホルダ 5"/>
          <p:cNvSpPr txBox="1">
            <a:spLocks noChangeArrowheads="1"/>
          </p:cNvSpPr>
          <p:nvPr/>
        </p:nvSpPr>
        <p:spPr bwMode="auto">
          <a:xfrm>
            <a:off x="9371013" y="6515100"/>
            <a:ext cx="498475" cy="31115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 algn="ctr" eaLnBrk="1" hangingPunct="1"/>
            <a:fld id="{9A0DB2DC-4C9A-4742-B13C-FB6460FD3503}" type="slidenum">
              <a:rPr lang="ja-JP" altLang="en-US" sz="1000" dirty="0">
                <a:solidFill>
                  <a:srgbClr val="000000"/>
                </a:solidFill>
                <a:ea typeface="Arial" panose="020B0604020202020204" pitchFamily="34" charset="0"/>
              </a:rPr>
            </a:fld>
            <a:endParaRPr lang="ja-JP" altLang="en-US" sz="1000" dirty="0">
              <a:solidFill>
                <a:srgbClr val="000000"/>
              </a:solidFill>
              <a:ea typeface="Arial" panose="020B0604020202020204" pitchFamily="34" charset="0"/>
            </a:endParaRPr>
          </a:p>
        </p:txBody>
      </p:sp>
      <p:grpSp>
        <p:nvGrpSpPr>
          <p:cNvPr id="1031" name="グループ化 20"/>
          <p:cNvGrpSpPr/>
          <p:nvPr userDrawn="1"/>
        </p:nvGrpSpPr>
        <p:grpSpPr>
          <a:xfrm>
            <a:off x="0" y="6462713"/>
            <a:ext cx="9906000" cy="458787"/>
            <a:chOff x="0" y="6463506"/>
            <a:chExt cx="9906000" cy="457994"/>
          </a:xfrm>
        </p:grpSpPr>
        <p:sp>
          <p:nvSpPr>
            <p:cNvPr id="22" name="フッター プレースホルダ 4"/>
            <p:cNvSpPr txBox="1"/>
            <p:nvPr/>
          </p:nvSpPr>
          <p:spPr>
            <a:xfrm>
              <a:off x="6610350" y="6639413"/>
              <a:ext cx="2833688" cy="282087"/>
            </a:xfrm>
            <a:prstGeom prst="rect">
              <a:avLst/>
            </a:prstGeom>
          </p:spPr>
          <p:txBody>
            <a:bodyPr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charset="-128"/>
                  <a:cs typeface="Arial" panose="020B0604020202020204" pitchFamily="34" charset="0"/>
                </a:rPr>
                <a:t>Copyright © 2012 Japan Display Inc. All Rights Reserved.</a:t>
              </a:r>
              <a:endParaRPr kumimoji="1" lang="ja-JP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endParaRPr>
            </a:p>
          </p:txBody>
        </p:sp>
        <p:cxnSp>
          <p:nvCxnSpPr>
            <p:cNvPr id="23" name="直線コネクタ 22"/>
            <p:cNvCxnSpPr/>
            <p:nvPr/>
          </p:nvCxnSpPr>
          <p:spPr>
            <a:xfrm>
              <a:off x="0" y="6463506"/>
              <a:ext cx="9906000" cy="0"/>
            </a:xfrm>
            <a:prstGeom prst="line">
              <a:avLst/>
            </a:prstGeom>
            <a:ln>
              <a:solidFill>
                <a:srgbClr val="00558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034" name="コンテンツ プレースホルダー 1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72812" y="6518403"/>
              <a:ext cx="1827415" cy="315145"/>
            </a:xfrm>
            <a:prstGeom prst="rect">
              <a:avLst/>
            </a:prstGeom>
            <a:noFill/>
            <a:ln w="9525">
              <a:noFill/>
            </a:ln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sldNum="0" hdr="0" ftr="0"/>
  <p:txStyles>
    <p:titleStyle>
      <a:lvl1pPr algn="l" defTabSz="455295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bg1"/>
          </a:solidFill>
          <a:latin typeface="+mj-lt"/>
          <a:ea typeface="MS PGothic" panose="020B0600070205080204" pitchFamily="34" charset="-128"/>
          <a:cs typeface="MS PGothic" panose="020B0600070205080204" pitchFamily="34" charset="-128"/>
        </a:defRPr>
      </a:lvl1pPr>
      <a:lvl2pPr algn="l" defTabSz="455295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2pPr>
      <a:lvl3pPr algn="l" defTabSz="455295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3pPr>
      <a:lvl4pPr algn="l" defTabSz="455295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4pPr>
      <a:lvl5pPr algn="l" defTabSz="455295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5pPr>
      <a:lvl6pPr marL="457200" algn="ctr" defTabSz="455295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6pPr>
      <a:lvl7pPr marL="914400" algn="ctr" defTabSz="455295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7pPr>
      <a:lvl8pPr marL="1371600" algn="ctr" defTabSz="455295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8pPr>
      <a:lvl9pPr marL="1828800" algn="ctr" defTabSz="455295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9pPr>
    </p:titleStyle>
    <p:bodyStyle>
      <a:lvl1pPr marL="341630" indent="-34163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1pPr>
      <a:lvl2pPr marL="741680" indent="-28448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2pPr>
      <a:lvl3pPr marL="1141730" indent="-22733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3pPr>
      <a:lvl4pPr marL="1598930" indent="-22733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4pPr>
      <a:lvl5pPr marL="2056130" indent="-22733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5pPr>
      <a:lvl6pPr marL="2514600" indent="-228600" algn="l" defTabSz="456565" rtl="0" eaLnBrk="1" latinLnBrk="0" hangingPunct="1">
        <a:spcBef>
          <a:spcPct val="20000"/>
        </a:spcBef>
        <a:buFont typeface="Arial" panose="020B0604020202020204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6565" rtl="0" eaLnBrk="1" latinLnBrk="0" hangingPunct="1">
        <a:spcBef>
          <a:spcPct val="20000"/>
        </a:spcBef>
        <a:buFont typeface="Arial" panose="020B0604020202020204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6565" rtl="0" eaLnBrk="1" latinLnBrk="0" hangingPunct="1">
        <a:spcBef>
          <a:spcPct val="20000"/>
        </a:spcBef>
        <a:buFont typeface="Arial" panose="020B0604020202020204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6565" rtl="0" eaLnBrk="1" latinLnBrk="0" hangingPunct="1">
        <a:spcBef>
          <a:spcPct val="20000"/>
        </a:spcBef>
        <a:buFont typeface="Arial" panose="020B0604020202020204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正方形/長方形 19"/>
          <p:cNvSpPr/>
          <p:nvPr/>
        </p:nvSpPr>
        <p:spPr>
          <a:xfrm>
            <a:off x="0" y="217488"/>
            <a:ext cx="9906000" cy="479425"/>
          </a:xfrm>
          <a:prstGeom prst="rect">
            <a:avLst/>
          </a:prstGeom>
          <a:solidFill>
            <a:srgbClr val="0055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ヒラギノ角ゴ Pro W3"/>
            </a:endParaRP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8435975" y="-3175"/>
            <a:ext cx="1184275" cy="220663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 algn="ctr" defTabSz="455295">
              <a:buFontTx/>
              <a:buNone/>
              <a:defRPr kumimoji="1" sz="1200">
                <a:solidFill>
                  <a:srgbClr val="898989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2012/</a:t>
            </a:r>
            <a:r>
              <a: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7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/</a:t>
            </a:r>
            <a:r>
              <a: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1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0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550" y="6486525"/>
            <a:ext cx="3136900" cy="365125"/>
          </a:xfrm>
          <a:prstGeom prst="rect">
            <a:avLst/>
          </a:prstGeom>
        </p:spPr>
        <p:txBody>
          <a:bodyPr vert="horz" wrap="square" lIns="91438" tIns="45718" rIns="91438" bIns="45718" numCol="1" anchor="ctr" anchorCtr="0" compatLnSpc="1"/>
          <a:lstStyle>
            <a:lvl1pPr algn="ctr" defTabSz="455295">
              <a:buFontTx/>
              <a:buNone/>
              <a:defRPr kumimoji="1" sz="1200">
                <a:solidFill>
                  <a:srgbClr val="898989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US" altLang="ja-JP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ヒラギノ角ゴ Pro W3"/>
            </a:endParaRPr>
          </a:p>
        </p:txBody>
      </p:sp>
      <p:sp>
        <p:nvSpPr>
          <p:cNvPr id="2053" name="タイトル プレースホルダ 1"/>
          <p:cNvSpPr>
            <a:spLocks noGrp="1"/>
          </p:cNvSpPr>
          <p:nvPr>
            <p:ph type="title"/>
          </p:nvPr>
        </p:nvSpPr>
        <p:spPr>
          <a:xfrm>
            <a:off x="290513" y="220663"/>
            <a:ext cx="9329737" cy="431800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/>
          <a:lstStyle/>
          <a:p>
            <a:pPr lvl="0"/>
            <a:r>
              <a:rPr lang="ja-JP" altLang="en-US" dirty="0"/>
              <a:t>マスタ タイトルの書式設定</a:t>
            </a:r>
            <a:endParaRPr lang="ja-JP" altLang="en-US" dirty="0"/>
          </a:p>
        </p:txBody>
      </p:sp>
      <p:sp>
        <p:nvSpPr>
          <p:cNvPr id="1030" name="スライド番号プレースホルダ 5"/>
          <p:cNvSpPr txBox="1">
            <a:spLocks noChangeArrowheads="1"/>
          </p:cNvSpPr>
          <p:nvPr/>
        </p:nvSpPr>
        <p:spPr bwMode="auto">
          <a:xfrm>
            <a:off x="9371013" y="6515100"/>
            <a:ext cx="498475" cy="31115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 algn="ctr" eaLnBrk="1" hangingPunct="1"/>
            <a:fld id="{9A0DB2DC-4C9A-4742-B13C-FB6460FD3503}" type="slidenum">
              <a:rPr lang="ja-JP" altLang="en-US" sz="1000" dirty="0">
                <a:solidFill>
                  <a:srgbClr val="000000"/>
                </a:solidFill>
                <a:ea typeface="Arial" panose="020B0604020202020204" pitchFamily="34" charset="0"/>
              </a:rPr>
            </a:fld>
            <a:endParaRPr lang="ja-JP" altLang="en-US" sz="1000" dirty="0">
              <a:solidFill>
                <a:srgbClr val="000000"/>
              </a:solidFill>
              <a:ea typeface="Arial" panose="020B0604020202020204" pitchFamily="34" charset="0"/>
            </a:endParaRPr>
          </a:p>
        </p:txBody>
      </p:sp>
      <p:grpSp>
        <p:nvGrpSpPr>
          <p:cNvPr id="2055" name="グループ化 20"/>
          <p:cNvGrpSpPr/>
          <p:nvPr userDrawn="1"/>
        </p:nvGrpSpPr>
        <p:grpSpPr>
          <a:xfrm>
            <a:off x="0" y="6462713"/>
            <a:ext cx="9906000" cy="458787"/>
            <a:chOff x="0" y="6463506"/>
            <a:chExt cx="9906000" cy="457994"/>
          </a:xfrm>
        </p:grpSpPr>
        <p:sp>
          <p:nvSpPr>
            <p:cNvPr id="22" name="フッター プレースホルダ 4"/>
            <p:cNvSpPr txBox="1"/>
            <p:nvPr/>
          </p:nvSpPr>
          <p:spPr>
            <a:xfrm>
              <a:off x="6610350" y="6639413"/>
              <a:ext cx="2833688" cy="282087"/>
            </a:xfrm>
            <a:prstGeom prst="rect">
              <a:avLst/>
            </a:prstGeom>
          </p:spPr>
          <p:txBody>
            <a:bodyPr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charset="-128"/>
                  <a:cs typeface="Arial" panose="020B0604020202020204" pitchFamily="34" charset="0"/>
                </a:rPr>
                <a:t>Copyright © 2012 Japan Display Inc. All Rights Reserved.</a:t>
              </a:r>
              <a:endParaRPr kumimoji="1" lang="ja-JP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endParaRPr>
            </a:p>
          </p:txBody>
        </p:sp>
        <p:cxnSp>
          <p:nvCxnSpPr>
            <p:cNvPr id="23" name="直線コネクタ 22"/>
            <p:cNvCxnSpPr/>
            <p:nvPr/>
          </p:nvCxnSpPr>
          <p:spPr>
            <a:xfrm>
              <a:off x="0" y="6463506"/>
              <a:ext cx="9906000" cy="0"/>
            </a:xfrm>
            <a:prstGeom prst="line">
              <a:avLst/>
            </a:prstGeom>
            <a:ln>
              <a:solidFill>
                <a:srgbClr val="00558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058" name="コンテンツ プレースホルダー 1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72812" y="6518403"/>
              <a:ext cx="1827415" cy="315145"/>
            </a:xfrm>
            <a:prstGeom prst="rect">
              <a:avLst/>
            </a:prstGeom>
            <a:noFill/>
            <a:ln w="9525">
              <a:noFill/>
            </a:ln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</p:sldLayoutIdLst>
  <p:hf sldNum="0" hdr="0" ftr="0"/>
  <p:txStyles>
    <p:titleStyle>
      <a:lvl1pPr algn="l" defTabSz="455295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bg1"/>
          </a:solidFill>
          <a:latin typeface="+mj-lt"/>
          <a:ea typeface="MS PGothic" panose="020B0600070205080204" pitchFamily="34" charset="-128"/>
          <a:cs typeface="MS PGothic" panose="020B0600070205080204" pitchFamily="34" charset="-128"/>
        </a:defRPr>
      </a:lvl1pPr>
      <a:lvl2pPr algn="l" defTabSz="455295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2pPr>
      <a:lvl3pPr algn="l" defTabSz="455295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3pPr>
      <a:lvl4pPr algn="l" defTabSz="455295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4pPr>
      <a:lvl5pPr algn="l" defTabSz="455295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5pPr>
      <a:lvl6pPr marL="457200" algn="ctr" defTabSz="455295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6pPr>
      <a:lvl7pPr marL="914400" algn="ctr" defTabSz="455295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7pPr>
      <a:lvl8pPr marL="1371600" algn="ctr" defTabSz="455295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8pPr>
      <a:lvl9pPr marL="1828800" algn="ctr" defTabSz="455295" rtl="0" eaLnBrk="1" fontAlgn="base" hangingPunct="1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anose="020F0502020204030204" charset="-128"/>
          <a:ea typeface="MS PGothic" panose="020B0600070205080204" pitchFamily="34" charset="-128"/>
          <a:cs typeface="MS PGothic" panose="020B0600070205080204" pitchFamily="34" charset="-128"/>
        </a:defRPr>
      </a:lvl9pPr>
    </p:titleStyle>
    <p:bodyStyle>
      <a:lvl1pPr marL="341630" indent="-34163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1pPr>
      <a:lvl2pPr marL="741680" indent="-28448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2pPr>
      <a:lvl3pPr marL="1141730" indent="-22733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3pPr>
      <a:lvl4pPr marL="1598930" indent="-22733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4pPr>
      <a:lvl5pPr marL="2056130" indent="-227330" algn="l" defTabSz="45529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5pPr>
      <a:lvl6pPr marL="2514600" indent="-228600" algn="l" defTabSz="456565" rtl="0" eaLnBrk="1" latinLnBrk="0" hangingPunct="1">
        <a:spcBef>
          <a:spcPct val="20000"/>
        </a:spcBef>
        <a:buFont typeface="Arial" panose="020B0604020202020204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6565" rtl="0" eaLnBrk="1" latinLnBrk="0" hangingPunct="1">
        <a:spcBef>
          <a:spcPct val="20000"/>
        </a:spcBef>
        <a:buFont typeface="Arial" panose="020B0604020202020204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6565" rtl="0" eaLnBrk="1" latinLnBrk="0" hangingPunct="1">
        <a:spcBef>
          <a:spcPct val="20000"/>
        </a:spcBef>
        <a:buFont typeface="Arial" panose="020B0604020202020204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6565" rtl="0" eaLnBrk="1" latinLnBrk="0" hangingPunct="1">
        <a:spcBef>
          <a:spcPct val="20000"/>
        </a:spcBef>
        <a:buFont typeface="Arial" panose="020B0604020202020204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656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tags" Target="../tags/tag11.xml"/><Relationship Id="rId8" Type="http://schemas.openxmlformats.org/officeDocument/2006/relationships/tags" Target="../tags/tag10.xml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5" Type="http://schemas.openxmlformats.org/officeDocument/2006/relationships/notesSlide" Target="../notesSlides/notesSlide2.xml"/><Relationship Id="rId34" Type="http://schemas.openxmlformats.org/officeDocument/2006/relationships/vmlDrawing" Target="../drawings/vmlDrawing2.vml"/><Relationship Id="rId33" Type="http://schemas.openxmlformats.org/officeDocument/2006/relationships/slideLayout" Target="../slideLayouts/slideLayout5.xml"/><Relationship Id="rId32" Type="http://schemas.openxmlformats.org/officeDocument/2006/relationships/image" Target="../media/image25.png"/><Relationship Id="rId31" Type="http://schemas.openxmlformats.org/officeDocument/2006/relationships/tags" Target="../tags/tag27.xml"/><Relationship Id="rId30" Type="http://schemas.openxmlformats.org/officeDocument/2006/relationships/tags" Target="../tags/tag26.xml"/><Relationship Id="rId3" Type="http://schemas.openxmlformats.org/officeDocument/2006/relationships/tags" Target="../tags/tag5.xml"/><Relationship Id="rId29" Type="http://schemas.openxmlformats.org/officeDocument/2006/relationships/tags" Target="../tags/tag25.xml"/><Relationship Id="rId28" Type="http://schemas.openxmlformats.org/officeDocument/2006/relationships/tags" Target="../tags/tag24.xml"/><Relationship Id="rId27" Type="http://schemas.openxmlformats.org/officeDocument/2006/relationships/tags" Target="../tags/tag23.xml"/><Relationship Id="rId26" Type="http://schemas.openxmlformats.org/officeDocument/2006/relationships/tags" Target="../tags/tag22.xml"/><Relationship Id="rId25" Type="http://schemas.openxmlformats.org/officeDocument/2006/relationships/tags" Target="../tags/tag21.xml"/><Relationship Id="rId24" Type="http://schemas.openxmlformats.org/officeDocument/2006/relationships/tags" Target="../tags/tag20.xml"/><Relationship Id="rId23" Type="http://schemas.openxmlformats.org/officeDocument/2006/relationships/tags" Target="../tags/tag19.xml"/><Relationship Id="rId22" Type="http://schemas.openxmlformats.org/officeDocument/2006/relationships/tags" Target="../tags/tag18.xml"/><Relationship Id="rId21" Type="http://schemas.openxmlformats.org/officeDocument/2006/relationships/image" Target="../media/image24.png"/><Relationship Id="rId20" Type="http://schemas.openxmlformats.org/officeDocument/2006/relationships/tags" Target="../tags/tag17.xml"/><Relationship Id="rId2" Type="http://schemas.openxmlformats.org/officeDocument/2006/relationships/oleObject" Target="../embeddings/oleObject2.bin"/><Relationship Id="rId19" Type="http://schemas.openxmlformats.org/officeDocument/2006/relationships/image" Target="../media/image23.jpeg"/><Relationship Id="rId18" Type="http://schemas.openxmlformats.org/officeDocument/2006/relationships/tags" Target="../tags/tag16.xml"/><Relationship Id="rId17" Type="http://schemas.openxmlformats.org/officeDocument/2006/relationships/image" Target="../media/image22.png"/><Relationship Id="rId16" Type="http://schemas.openxmlformats.org/officeDocument/2006/relationships/tags" Target="../tags/tag15.xml"/><Relationship Id="rId15" Type="http://schemas.openxmlformats.org/officeDocument/2006/relationships/image" Target="../media/image21.jpeg"/><Relationship Id="rId14" Type="http://schemas.openxmlformats.org/officeDocument/2006/relationships/tags" Target="../tags/tag14.xml"/><Relationship Id="rId13" Type="http://schemas.openxmlformats.org/officeDocument/2006/relationships/hyperlink" Target="http://blog-imgs-46.fc2.com/g/e/e/geese46/PK2010122502100062_size0.jpg" TargetMode="External"/><Relationship Id="rId12" Type="http://schemas.openxmlformats.org/officeDocument/2006/relationships/image" Target="../media/image20.png"/><Relationship Id="rId11" Type="http://schemas.openxmlformats.org/officeDocument/2006/relationships/tags" Target="../tags/tag13.xml"/><Relationship Id="rId10" Type="http://schemas.openxmlformats.org/officeDocument/2006/relationships/tags" Target="../tags/tag12.xml"/><Relationship Id="rId1" Type="http://schemas.openxmlformats.org/officeDocument/2006/relationships/tags" Target="../tags/tag4.xml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image" Target="../media/image26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image" Target="../media/image38.png"/><Relationship Id="rId8" Type="http://schemas.openxmlformats.org/officeDocument/2006/relationships/image" Target="../media/image37.png"/><Relationship Id="rId7" Type="http://schemas.openxmlformats.org/officeDocument/2006/relationships/image" Target="../media/image36.jpeg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30" Type="http://schemas.openxmlformats.org/officeDocument/2006/relationships/notesSlide" Target="../notesSlides/notesSlide3.xml"/><Relationship Id="rId3" Type="http://schemas.openxmlformats.org/officeDocument/2006/relationships/image" Target="../media/image32.png"/><Relationship Id="rId29" Type="http://schemas.openxmlformats.org/officeDocument/2006/relationships/slideLayout" Target="../slideLayouts/slideLayout2.xml"/><Relationship Id="rId28" Type="http://schemas.openxmlformats.org/officeDocument/2006/relationships/image" Target="../media/image56.png"/><Relationship Id="rId27" Type="http://schemas.openxmlformats.org/officeDocument/2006/relationships/image" Target="../media/image55.jpeg"/><Relationship Id="rId26" Type="http://schemas.openxmlformats.org/officeDocument/2006/relationships/image" Target="../media/image54.png"/><Relationship Id="rId25" Type="http://schemas.openxmlformats.org/officeDocument/2006/relationships/image" Target="../media/image53.png"/><Relationship Id="rId24" Type="http://schemas.openxmlformats.org/officeDocument/2006/relationships/image" Target="../media/image52.png"/><Relationship Id="rId23" Type="http://schemas.openxmlformats.org/officeDocument/2006/relationships/image" Target="../media/image51.png"/><Relationship Id="rId22" Type="http://schemas.openxmlformats.org/officeDocument/2006/relationships/image" Target="../media/image50.png"/><Relationship Id="rId21" Type="http://schemas.openxmlformats.org/officeDocument/2006/relationships/image" Target="../media/image49.png"/><Relationship Id="rId20" Type="http://schemas.openxmlformats.org/officeDocument/2006/relationships/image" Target="../media/image48.png"/><Relationship Id="rId2" Type="http://schemas.openxmlformats.org/officeDocument/2006/relationships/image" Target="../media/image31.png"/><Relationship Id="rId19" Type="http://schemas.openxmlformats.org/officeDocument/2006/relationships/image" Target="../media/image47.png"/><Relationship Id="rId18" Type="http://schemas.openxmlformats.org/officeDocument/2006/relationships/image" Target="../media/image46.png"/><Relationship Id="rId17" Type="http://schemas.openxmlformats.org/officeDocument/2006/relationships/image" Target="../media/image45.png"/><Relationship Id="rId16" Type="http://schemas.openxmlformats.org/officeDocument/2006/relationships/hyperlink" Target="JDI2016_master_0717.mp4" TargetMode="External"/><Relationship Id="rId15" Type="http://schemas.openxmlformats.org/officeDocument/2006/relationships/image" Target="../media/image44.png"/><Relationship Id="rId14" Type="http://schemas.openxmlformats.org/officeDocument/2006/relationships/image" Target="../media/image43.png"/><Relationship Id="rId13" Type="http://schemas.openxmlformats.org/officeDocument/2006/relationships/image" Target="../media/image42.png"/><Relationship Id="rId12" Type="http://schemas.openxmlformats.org/officeDocument/2006/relationships/image" Target="../media/image41.png"/><Relationship Id="rId11" Type="http://schemas.openxmlformats.org/officeDocument/2006/relationships/image" Target="../media/image40.png"/><Relationship Id="rId10" Type="http://schemas.openxmlformats.org/officeDocument/2006/relationships/image" Target="../media/image39.png"/><Relationship Id="rId1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9.png"/><Relationship Id="rId1" Type="http://schemas.openxmlformats.org/officeDocument/2006/relationships/image" Target="../media/image5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1.jpeg"/><Relationship Id="rId1" Type="http://schemas.openxmlformats.org/officeDocument/2006/relationships/image" Target="../media/image60.jpe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image" Target="../media/image62.png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67.jpeg"/><Relationship Id="rId2" Type="http://schemas.openxmlformats.org/officeDocument/2006/relationships/image" Target="../media/image66.png"/><Relationship Id="rId1" Type="http://schemas.openxmlformats.org/officeDocument/2006/relationships/image" Target="../media/image6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9.jpeg"/><Relationship Id="rId1" Type="http://schemas.openxmlformats.org/officeDocument/2006/relationships/image" Target="../media/image68.jpeg"/></Relationships>
</file>

<file path=ppt/slides/_rels/slide2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73.png"/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image" Target="../media/image70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image" Target="../media/image74.png"/></Relationships>
</file>

<file path=ppt/slides/_rels/slide29.xml.rels><?xml version="1.0" encoding="UTF-8" standalone="yes"?>
<Relationships xmlns="http://schemas.openxmlformats.org/package/2006/relationships"><Relationship Id="rId9" Type="http://schemas.openxmlformats.org/officeDocument/2006/relationships/tags" Target="../tags/tag37.xml"/><Relationship Id="rId8" Type="http://schemas.openxmlformats.org/officeDocument/2006/relationships/tags" Target="../tags/tag36.xml"/><Relationship Id="rId7" Type="http://schemas.openxmlformats.org/officeDocument/2006/relationships/tags" Target="../tags/tag35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tags" Target="../tags/tag31.xml"/><Relationship Id="rId23" Type="http://schemas.openxmlformats.org/officeDocument/2006/relationships/notesSlide" Target="../notesSlides/notesSlide5.xml"/><Relationship Id="rId22" Type="http://schemas.openxmlformats.org/officeDocument/2006/relationships/slideLayout" Target="../slideLayouts/slideLayout3.xml"/><Relationship Id="rId21" Type="http://schemas.openxmlformats.org/officeDocument/2006/relationships/tags" Target="../tags/tag49.xml"/><Relationship Id="rId20" Type="http://schemas.openxmlformats.org/officeDocument/2006/relationships/tags" Target="../tags/tag48.xml"/><Relationship Id="rId2" Type="http://schemas.openxmlformats.org/officeDocument/2006/relationships/tags" Target="../tags/tag30.xml"/><Relationship Id="rId19" Type="http://schemas.openxmlformats.org/officeDocument/2006/relationships/tags" Target="../tags/tag47.xml"/><Relationship Id="rId18" Type="http://schemas.openxmlformats.org/officeDocument/2006/relationships/tags" Target="../tags/tag46.xml"/><Relationship Id="rId17" Type="http://schemas.openxmlformats.org/officeDocument/2006/relationships/tags" Target="../tags/tag45.xml"/><Relationship Id="rId16" Type="http://schemas.openxmlformats.org/officeDocument/2006/relationships/tags" Target="../tags/tag44.xml"/><Relationship Id="rId15" Type="http://schemas.openxmlformats.org/officeDocument/2006/relationships/tags" Target="../tags/tag43.xml"/><Relationship Id="rId14" Type="http://schemas.openxmlformats.org/officeDocument/2006/relationships/tags" Target="../tags/tag42.xml"/><Relationship Id="rId13" Type="http://schemas.openxmlformats.org/officeDocument/2006/relationships/tags" Target="../tags/tag41.xml"/><Relationship Id="rId12" Type="http://schemas.openxmlformats.org/officeDocument/2006/relationships/tags" Target="../tags/tag40.xml"/><Relationship Id="rId11" Type="http://schemas.openxmlformats.org/officeDocument/2006/relationships/tags" Target="../tags/tag39.xml"/><Relationship Id="rId10" Type="http://schemas.openxmlformats.org/officeDocument/2006/relationships/tags" Target="../tags/tag38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hyperlink" Target="http://baike.baidu.com/view/17850.htm" TargetMode="External"/><Relationship Id="rId8" Type="http://schemas.openxmlformats.org/officeDocument/2006/relationships/hyperlink" Target="http://baike.baidu.com/view/1509333.htm" TargetMode="External"/><Relationship Id="rId7" Type="http://schemas.openxmlformats.org/officeDocument/2006/relationships/hyperlink" Target="http://baike.so.com/doc/5210894.html" TargetMode="External"/><Relationship Id="rId6" Type="http://schemas.openxmlformats.org/officeDocument/2006/relationships/hyperlink" Target="http://baike.so.com/doc/1253613.html" TargetMode="External"/><Relationship Id="rId5" Type="http://schemas.openxmlformats.org/officeDocument/2006/relationships/hyperlink" Target="http://baike.baidu.com/view/16156.htm" TargetMode="External"/><Relationship Id="rId4" Type="http://schemas.openxmlformats.org/officeDocument/2006/relationships/hyperlink" Target="http://baike.baidu.com/view/48994.htm" TargetMode="External"/><Relationship Id="rId3" Type="http://schemas.openxmlformats.org/officeDocument/2006/relationships/hyperlink" Target="http://baike.baidu.com/view/39422.htm" TargetMode="External"/><Relationship Id="rId2" Type="http://schemas.openxmlformats.org/officeDocument/2006/relationships/hyperlink" Target="http://baike.baidu.com/view/132654.htm" TargetMode="External"/><Relationship Id="rId10" Type="http://schemas.openxmlformats.org/officeDocument/2006/relationships/slideLayout" Target="../slideLayouts/slideLayout2.xml"/><Relationship Id="rId1" Type="http://schemas.openxmlformats.org/officeDocument/2006/relationships/hyperlink" Target="http://baike.baidu.com/view/61891.htm" TargetMode="Externa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7" Type="http://schemas.openxmlformats.org/officeDocument/2006/relationships/tags" Target="../tags/tag53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image" Target="../media/image75.jpeg"/></Relationships>
</file>

<file path=ppt/slides/_rels/slide31.xml.rels><?xml version="1.0" encoding="UTF-8" standalone="yes"?>
<Relationships xmlns="http://schemas.openxmlformats.org/package/2006/relationships"><Relationship Id="rId9" Type="http://schemas.openxmlformats.org/officeDocument/2006/relationships/image" Target="../media/image80.jpeg"/><Relationship Id="rId8" Type="http://schemas.openxmlformats.org/officeDocument/2006/relationships/tags" Target="../tags/tag59.xml"/><Relationship Id="rId7" Type="http://schemas.openxmlformats.org/officeDocument/2006/relationships/tags" Target="../tags/tag58.xml"/><Relationship Id="rId6" Type="http://schemas.openxmlformats.org/officeDocument/2006/relationships/image" Target="../media/image79.jpeg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3" Type="http://schemas.openxmlformats.org/officeDocument/2006/relationships/image" Target="../media/image78.jpeg"/><Relationship Id="rId2" Type="http://schemas.openxmlformats.org/officeDocument/2006/relationships/tags" Target="../tags/tag55.xml"/><Relationship Id="rId16" Type="http://schemas.openxmlformats.org/officeDocument/2006/relationships/notesSlide" Target="../notesSlides/notesSlide6.xml"/><Relationship Id="rId15" Type="http://schemas.openxmlformats.org/officeDocument/2006/relationships/slideLayout" Target="../slideLayouts/slideLayout2.xml"/><Relationship Id="rId14" Type="http://schemas.openxmlformats.org/officeDocument/2006/relationships/tags" Target="../tags/tag63.xml"/><Relationship Id="rId13" Type="http://schemas.openxmlformats.org/officeDocument/2006/relationships/tags" Target="../tags/tag62.xml"/><Relationship Id="rId12" Type="http://schemas.openxmlformats.org/officeDocument/2006/relationships/image" Target="../media/image81.jpeg"/><Relationship Id="rId11" Type="http://schemas.openxmlformats.org/officeDocument/2006/relationships/tags" Target="../tags/tag61.xml"/><Relationship Id="rId10" Type="http://schemas.openxmlformats.org/officeDocument/2006/relationships/tags" Target="../tags/tag60.xml"/><Relationship Id="rId1" Type="http://schemas.openxmlformats.org/officeDocument/2006/relationships/tags" Target="../tags/tag54.xml"/></Relationships>
</file>

<file path=ppt/slides/_rels/slide32.xml.rels><?xml version="1.0" encoding="UTF-8" standalone="yes"?>
<Relationships xmlns="http://schemas.openxmlformats.org/package/2006/relationships"><Relationship Id="rId9" Type="http://schemas.openxmlformats.org/officeDocument/2006/relationships/tags" Target="../tags/tag70.xml"/><Relationship Id="rId8" Type="http://schemas.openxmlformats.org/officeDocument/2006/relationships/tags" Target="../tags/tag69.xml"/><Relationship Id="rId7" Type="http://schemas.openxmlformats.org/officeDocument/2006/relationships/tags" Target="../tags/tag68.xml"/><Relationship Id="rId6" Type="http://schemas.openxmlformats.org/officeDocument/2006/relationships/image" Target="../media/image83.jpeg"/><Relationship Id="rId5" Type="http://schemas.openxmlformats.org/officeDocument/2006/relationships/tags" Target="../tags/tag67.xml"/><Relationship Id="rId4" Type="http://schemas.openxmlformats.org/officeDocument/2006/relationships/image" Target="../media/image82.jpeg"/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3" Type="http://schemas.openxmlformats.org/officeDocument/2006/relationships/slideLayout" Target="../slideLayouts/slideLayout2.xml"/><Relationship Id="rId12" Type="http://schemas.openxmlformats.org/officeDocument/2006/relationships/tags" Target="../tags/tag71.xml"/><Relationship Id="rId11" Type="http://schemas.openxmlformats.org/officeDocument/2006/relationships/image" Target="../media/image85.png"/><Relationship Id="rId10" Type="http://schemas.openxmlformats.org/officeDocument/2006/relationships/image" Target="../media/image84.jpeg"/><Relationship Id="rId1" Type="http://schemas.openxmlformats.org/officeDocument/2006/relationships/tags" Target="../tags/tag64.xml"/></Relationships>
</file>

<file path=ppt/slides/_rels/slide33.xml.rels><?xml version="1.0" encoding="UTF-8" standalone="yes"?>
<Relationships xmlns="http://schemas.openxmlformats.org/package/2006/relationships"><Relationship Id="rId9" Type="http://schemas.openxmlformats.org/officeDocument/2006/relationships/tags" Target="../tags/tag76.xml"/><Relationship Id="rId8" Type="http://schemas.openxmlformats.org/officeDocument/2006/relationships/image" Target="../media/image89.jpeg"/><Relationship Id="rId7" Type="http://schemas.openxmlformats.org/officeDocument/2006/relationships/tags" Target="../tags/tag75.xml"/><Relationship Id="rId6" Type="http://schemas.openxmlformats.org/officeDocument/2006/relationships/image" Target="../media/image88.jpeg"/><Relationship Id="rId5" Type="http://schemas.openxmlformats.org/officeDocument/2006/relationships/tags" Target="../tags/tag74.xml"/><Relationship Id="rId4" Type="http://schemas.openxmlformats.org/officeDocument/2006/relationships/image" Target="../media/image87.jpeg"/><Relationship Id="rId3" Type="http://schemas.openxmlformats.org/officeDocument/2006/relationships/tags" Target="../tags/tag73.xml"/><Relationship Id="rId2" Type="http://schemas.openxmlformats.org/officeDocument/2006/relationships/image" Target="../media/image86.jpeg"/><Relationship Id="rId14" Type="http://schemas.openxmlformats.org/officeDocument/2006/relationships/slideLayout" Target="../slideLayouts/slideLayout2.xml"/><Relationship Id="rId13" Type="http://schemas.openxmlformats.org/officeDocument/2006/relationships/tags" Target="../tags/tag79.xml"/><Relationship Id="rId12" Type="http://schemas.openxmlformats.org/officeDocument/2006/relationships/tags" Target="../tags/tag78.xml"/><Relationship Id="rId11" Type="http://schemas.openxmlformats.org/officeDocument/2006/relationships/image" Target="../media/image90.jpeg"/><Relationship Id="rId10" Type="http://schemas.openxmlformats.org/officeDocument/2006/relationships/tags" Target="../tags/tag77.xml"/><Relationship Id="rId1" Type="http://schemas.openxmlformats.org/officeDocument/2006/relationships/tags" Target="../tags/tag7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0.jpeg"/><Relationship Id="rId1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.jpeg"/><Relationship Id="rId8" Type="http://schemas.openxmlformats.org/officeDocument/2006/relationships/image" Target="../media/image14.jpeg"/><Relationship Id="rId7" Type="http://schemas.openxmlformats.org/officeDocument/2006/relationships/image" Target="../media/image13.jpeg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oleObject" Target="../embeddings/oleObject1.bin"/><Relationship Id="rId3" Type="http://schemas.openxmlformats.org/officeDocument/2006/relationships/tags" Target="../tags/tag1.xml"/><Relationship Id="rId2" Type="http://schemas.openxmlformats.org/officeDocument/2006/relationships/image" Target="../media/image12.jpeg"/><Relationship Id="rId16" Type="http://schemas.openxmlformats.org/officeDocument/2006/relationships/notesSlide" Target="../notesSlides/notesSlide1.xml"/><Relationship Id="rId15" Type="http://schemas.openxmlformats.org/officeDocument/2006/relationships/vmlDrawing" Target="../drawings/vmlDrawing1.vml"/><Relationship Id="rId14" Type="http://schemas.openxmlformats.org/officeDocument/2006/relationships/slideLayout" Target="../slideLayouts/slideLayout2.xml"/><Relationship Id="rId13" Type="http://schemas.openxmlformats.org/officeDocument/2006/relationships/image" Target="../media/image19.jpeg"/><Relationship Id="rId12" Type="http://schemas.openxmlformats.org/officeDocument/2006/relationships/image" Target="../media/image18.jpeg"/><Relationship Id="rId11" Type="http://schemas.openxmlformats.org/officeDocument/2006/relationships/image" Target="../media/image17.jpeg"/><Relationship Id="rId10" Type="http://schemas.openxmlformats.org/officeDocument/2006/relationships/image" Target="../media/image16.jpeg"/><Relationship Id="rId1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タイトル 5"/>
          <p:cNvSpPr>
            <a:spLocks noGrp="1"/>
          </p:cNvSpPr>
          <p:nvPr>
            <p:ph type="ctrTitle"/>
          </p:nvPr>
        </p:nvSpPr>
        <p:spPr>
          <a:xfrm>
            <a:off x="3482975" y="2849563"/>
            <a:ext cx="5959475" cy="661987"/>
          </a:xfrm>
        </p:spPr>
        <p:txBody>
          <a:bodyPr vert="horz" wrap="square" lIns="91438" tIns="45718" rIns="91438" bIns="45718" anchor="ctr"/>
          <a:lstStyle/>
          <a:p>
            <a:pPr defTabSz="455295" eaLnBrk="1" hangingPunct="1"/>
            <a:r>
              <a:rPr lang="zh-CN" altLang="en-US" sz="30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晶端显示精密电子</a:t>
            </a:r>
            <a:r>
              <a:rPr lang="en-US" altLang="zh-CN" sz="30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(</a:t>
            </a:r>
            <a:r>
              <a:rPr lang="zh-CN" altLang="en-US" sz="30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苏州</a:t>
            </a:r>
            <a:r>
              <a:rPr lang="en-US" altLang="zh-CN" sz="30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)</a:t>
            </a:r>
            <a:r>
              <a:rPr lang="zh-CN" altLang="en-US" sz="3000" kern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有限公司</a:t>
            </a:r>
            <a:endParaRPr lang="zh-CN" altLang="en-US" sz="3000" kern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AutoShape 57"/>
          <p:cNvGraphicFramePr/>
          <p:nvPr>
            <p:custDataLst>
              <p:tags r:id="rId1"/>
            </p:custDataLst>
          </p:nvPr>
        </p:nvGraphicFramePr>
        <p:xfrm>
          <a:off x="0" y="0"/>
          <a:ext cx="161925" cy="17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" r:id="rId2" imgW="0" imgH="0" progId="">
                  <p:embed/>
                </p:oleObj>
              </mc:Choice>
              <mc:Fallback>
                <p:oleObj name="" r:id="rId2" imgW="0" imgH="0" progId="">
                  <p:embed/>
                  <p:pic>
                    <p:nvPicPr>
                      <p:cNvPr id="0" name="图片 3075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25" cy="176213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Rectangle 7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DF2FF"/>
          </a:solidFill>
          <a:ln w="1270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 lvl="0" algn="ctr" defTabSz="1008380" eaLnBrk="0" hangingPunct="0"/>
            <a:r>
              <a:rPr lang="en-US" altLang="ja-JP" sz="7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rPr>
              <a:t>7</a:t>
            </a:r>
            <a:endParaRPr lang="ja-JP" altLang="en-US" sz="7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44" name="Title 3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0500" y="30163"/>
            <a:ext cx="9329738" cy="715962"/>
          </a:xfrm>
        </p:spPr>
        <p:txBody>
          <a:bodyPr vert="horz" wrap="square" lIns="0" tIns="223616" rIns="0" bIns="329740" anchor="t"/>
          <a:lstStyle/>
          <a:p>
            <a:pPr defTabSz="455295"/>
            <a:r>
              <a:rPr lang="ja-JP" altLang="zh-CN" sz="28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 </a:t>
            </a:r>
            <a:r>
              <a:rPr lang="zh-CN" altLang="ja-JP" sz="28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J</a:t>
            </a:r>
            <a:r>
              <a:rPr lang="zh-CN" altLang="zh-CN" sz="28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apan</a:t>
            </a:r>
            <a:r>
              <a:rPr lang="en-US" altLang="zh-CN" sz="28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 Display</a:t>
            </a:r>
            <a:r>
              <a:rPr lang="zh-CN" altLang="en-US" sz="28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股份有限公司概要</a:t>
            </a:r>
            <a:endParaRPr lang="ja-JP" altLang="en-US" sz="28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  <p:sp>
        <p:nvSpPr>
          <p:cNvPr id="10245" name="正方形/長方形 453"/>
          <p:cNvSpPr/>
          <p:nvPr>
            <p:custDataLst>
              <p:tags r:id="rId5"/>
            </p:custDataLst>
          </p:nvPr>
        </p:nvSpPr>
        <p:spPr>
          <a:xfrm>
            <a:off x="336550" y="1738313"/>
            <a:ext cx="3898900" cy="4484687"/>
          </a:xfrm>
          <a:prstGeom prst="rect">
            <a:avLst/>
          </a:prstGeom>
          <a:noFill/>
          <a:ln w="9525">
            <a:noFill/>
          </a:ln>
        </p:spPr>
        <p:txBody>
          <a:bodyPr lIns="96310" tIns="48155" rIns="96310" bIns="48155">
            <a:spAutoFit/>
          </a:bodyPr>
          <a:lstStyle/>
          <a:p>
            <a:pPr marL="173355" lvl="0" indent="-171450" defTabSz="914400" eaLnBrk="1" hangingPunct="1">
              <a:buClr>
                <a:srgbClr val="177B57"/>
              </a:buClr>
              <a:buFont typeface="Arial" panose="020B0604020202020204" pitchFamily="34" charset="0"/>
              <a:buChar char="•"/>
            </a:pPr>
            <a:r>
              <a:rPr lang="ja-JP" altLang="en-US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苏州晶端</a:t>
            </a:r>
            <a:r>
              <a:rPr lang="en-US" altLang="ja-JP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996</a:t>
            </a:r>
            <a:r>
              <a:rPr lang="ja-JP" altLang="en-US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年在苏成立，</a:t>
            </a:r>
            <a:r>
              <a:rPr lang="en-US" altLang="ja-JP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2012</a:t>
            </a:r>
            <a:r>
              <a:rPr lang="ja-JP" altLang="en-US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年为加强日本液晶显示屏在全球地位，由日本政府出资</a:t>
            </a:r>
            <a:r>
              <a:rPr lang="en-US" altLang="ja-JP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70%</a:t>
            </a:r>
            <a:r>
              <a:rPr lang="ja-JP" altLang="en-US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，东芝 索尼 </a:t>
            </a:r>
            <a:r>
              <a:rPr lang="zh-CN" altLang="en-US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爱普生</a:t>
            </a:r>
            <a:r>
              <a:rPr lang="ja-JP" altLang="en-US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旗下液晶显示屏事业部各出资</a:t>
            </a:r>
            <a:r>
              <a:rPr lang="en-US" altLang="ja-JP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0%</a:t>
            </a:r>
            <a:r>
              <a:rPr lang="ja-JP" altLang="en-US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，将三家公司的液晶显示屏事业部重组合并，成立日本显示器集团（国内叫晶端集团），日本政府为最大股东。</a:t>
            </a:r>
            <a:r>
              <a:rPr lang="en-US" altLang="ja-JP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2014</a:t>
            </a:r>
            <a:r>
              <a:rPr lang="ja-JP" altLang="en-US" sz="24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年苏州晶端产品更替，主要生产高端车载导航屏。</a:t>
            </a:r>
            <a:endParaRPr lang="zh-CN" altLang="en-US" sz="2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4" name="Horizontal Line"/>
          <p:cNvCxnSpPr/>
          <p:nvPr/>
        </p:nvCxnSpPr>
        <p:spPr>
          <a:xfrm>
            <a:off x="4783138" y="1498600"/>
            <a:ext cx="4149725" cy="0"/>
          </a:xfrm>
          <a:prstGeom prst="line">
            <a:avLst/>
          </a:prstGeom>
          <a:ln w="22225">
            <a:solidFill>
              <a:srgbClr val="0A419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7" name="ListLeanHorizontalTextTopic1"/>
          <p:cNvSpPr txBox="1"/>
          <p:nvPr/>
        </p:nvSpPr>
        <p:spPr>
          <a:xfrm>
            <a:off x="5181600" y="1169988"/>
            <a:ext cx="4495800" cy="268287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lvl="0" defTabSz="914400" eaLnBrk="1" hangingPunct="1">
              <a:lnSpc>
                <a:spcPct val="93000"/>
              </a:lnSpc>
              <a:buFont typeface="Arial" panose="020B0604020202020204" pitchFamily="34" charset="0"/>
            </a:pPr>
            <a:r>
              <a:rPr lang="zh-CN" altLang="en-US" sz="19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造据点</a:t>
            </a:r>
            <a:endParaRPr lang="zh-CN" altLang="en-US" sz="1900" b="1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8" name="Horizontal Line"/>
          <p:cNvCxnSpPr/>
          <p:nvPr/>
        </p:nvCxnSpPr>
        <p:spPr>
          <a:xfrm>
            <a:off x="211138" y="1498600"/>
            <a:ext cx="4149725" cy="0"/>
          </a:xfrm>
          <a:prstGeom prst="line">
            <a:avLst/>
          </a:prstGeom>
          <a:ln w="22225">
            <a:solidFill>
              <a:srgbClr val="0A419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9" name="ListLeanHorizontalTextTopic0"/>
          <p:cNvSpPr txBox="1"/>
          <p:nvPr/>
        </p:nvSpPr>
        <p:spPr>
          <a:xfrm>
            <a:off x="228600" y="1169988"/>
            <a:ext cx="4495800" cy="268287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lvl="0" defTabSz="914400" eaLnBrk="1" hangingPunct="1">
              <a:lnSpc>
                <a:spcPct val="93000"/>
              </a:lnSpc>
              <a:buFont typeface="Arial" panose="020B0604020202020204" pitchFamily="34" charset="0"/>
            </a:pPr>
            <a:r>
              <a:rPr lang="zh-CN" altLang="en-US" sz="19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概要</a:t>
            </a:r>
            <a:endParaRPr lang="zh-CN" altLang="en-US" sz="19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50" name="Text Box 40"/>
          <p:cNvSpPr txBox="1"/>
          <p:nvPr>
            <p:custDataLst>
              <p:tags r:id="rId6"/>
            </p:custDataLst>
          </p:nvPr>
        </p:nvSpPr>
        <p:spPr>
          <a:xfrm>
            <a:off x="6573838" y="2897188"/>
            <a:ext cx="963612" cy="630237"/>
          </a:xfrm>
          <a:prstGeom prst="rect">
            <a:avLst/>
          </a:prstGeom>
          <a:noFill/>
          <a:ln w="9525">
            <a:noFill/>
          </a:ln>
        </p:spPr>
        <p:txBody>
          <a:bodyPr wrap="none" lIns="91402" tIns="45701" rIns="91402" bIns="45701">
            <a:spAutoFit/>
          </a:bodyPr>
          <a:lstStyle/>
          <a:p>
            <a:pPr lvl="0" algn="ctr" defTabSz="914400" eaLnBrk="1" hangingPunct="1"/>
            <a:r>
              <a:rPr lang="ja-JP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石川</a:t>
            </a:r>
            <a:endParaRPr lang="en-US" altLang="ja-JP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 defTabSz="914400" eaLnBrk="1" hangingPunct="1"/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1: (a-Si)</a:t>
            </a:r>
            <a:endParaRPr lang="en-US" altLang="ja-JP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 defTabSz="914400" eaLnBrk="1" hangingPunct="1"/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1: (LTPS)</a:t>
            </a:r>
            <a:endParaRPr lang="ja-JP" alt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51" name="Text Box 41"/>
          <p:cNvSpPr txBox="1"/>
          <p:nvPr>
            <p:custDataLst>
              <p:tags r:id="rId7"/>
            </p:custDataLst>
          </p:nvPr>
        </p:nvSpPr>
        <p:spPr>
          <a:xfrm>
            <a:off x="5202238" y="2905125"/>
            <a:ext cx="1409700" cy="458788"/>
          </a:xfrm>
          <a:prstGeom prst="rect">
            <a:avLst/>
          </a:prstGeom>
          <a:noFill/>
          <a:ln w="9525">
            <a:noFill/>
          </a:ln>
        </p:spPr>
        <p:txBody>
          <a:bodyPr wrap="none" lIns="91402" tIns="45701" rIns="91402" bIns="45701">
            <a:spAutoFit/>
          </a:bodyPr>
          <a:lstStyle/>
          <a:p>
            <a:pPr lvl="0" algn="ctr" defTabSz="914400" eaLnBrk="1" hangingPunct="1"/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美</a:t>
            </a:r>
            <a:endParaRPr lang="zh-CN" altLang="en-US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 defTabSz="914400" eaLnBrk="1" hangingPunct="1"/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2: </a:t>
            </a:r>
            <a:r>
              <a:rPr lang="zh-CN" alt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设中</a:t>
            </a:r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LTPS)</a:t>
            </a:r>
            <a:endParaRPr lang="ja-JP" alt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52" name="Text Box 42"/>
          <p:cNvSpPr txBox="1"/>
          <p:nvPr>
            <p:custDataLst>
              <p:tags r:id="rId8"/>
            </p:custDataLst>
          </p:nvPr>
        </p:nvSpPr>
        <p:spPr>
          <a:xfrm>
            <a:off x="6610350" y="5464175"/>
            <a:ext cx="1038225" cy="290513"/>
          </a:xfrm>
          <a:prstGeom prst="rect">
            <a:avLst/>
          </a:prstGeom>
          <a:noFill/>
          <a:ln w="9525">
            <a:noFill/>
          </a:ln>
        </p:spPr>
        <p:txBody>
          <a:bodyPr wrap="none" lIns="91402" tIns="45701" rIns="91402" bIns="45701">
            <a:spAutoFit/>
          </a:bodyPr>
          <a:lstStyle/>
          <a:p>
            <a:pPr lvl="0" algn="ctr" defTabSz="914400" eaLnBrk="1" hangingPunct="1"/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东浦</a:t>
            </a:r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LTPS)</a:t>
            </a:r>
            <a:endParaRPr lang="ja-JP" alt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53" name="Text Box 58"/>
          <p:cNvSpPr txBox="1"/>
          <p:nvPr>
            <p:custDataLst>
              <p:tags r:id="rId9"/>
            </p:custDataLst>
          </p:nvPr>
        </p:nvSpPr>
        <p:spPr>
          <a:xfrm>
            <a:off x="5337175" y="5464175"/>
            <a:ext cx="927100" cy="290513"/>
          </a:xfrm>
          <a:prstGeom prst="rect">
            <a:avLst/>
          </a:prstGeom>
          <a:noFill/>
          <a:ln w="9525">
            <a:noFill/>
          </a:ln>
        </p:spPr>
        <p:txBody>
          <a:bodyPr wrap="none" lIns="91402" tIns="45701" rIns="91402" bIns="45701">
            <a:spAutoFit/>
          </a:bodyPr>
          <a:lstStyle/>
          <a:p>
            <a:pPr lvl="0" algn="ctr" defTabSz="914400" eaLnBrk="1" hangingPunct="1"/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鸟取</a:t>
            </a:r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a-Si)</a:t>
            </a:r>
            <a:endParaRPr lang="ja-JP" alt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54" name="Text Box 37"/>
          <p:cNvSpPr txBox="1"/>
          <p:nvPr>
            <p:custDataLst>
              <p:tags r:id="rId10"/>
            </p:custDataLst>
          </p:nvPr>
        </p:nvSpPr>
        <p:spPr>
          <a:xfrm>
            <a:off x="8247063" y="5143500"/>
            <a:ext cx="1676400" cy="800100"/>
          </a:xfrm>
          <a:prstGeom prst="rect">
            <a:avLst/>
          </a:prstGeom>
          <a:noFill/>
          <a:ln w="9525">
            <a:noFill/>
          </a:ln>
        </p:spPr>
        <p:txBody>
          <a:bodyPr lIns="91402" tIns="45701" rIns="91402" bIns="45701">
            <a:spAutoFit/>
          </a:bodyPr>
          <a:lstStyle/>
          <a:p>
            <a:pPr lvl="0" algn="ctr" defTabSz="914400" eaLnBrk="1" hangingPunct="1"/>
            <a:r>
              <a:rPr lang="ja-JP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茂原</a:t>
            </a:r>
            <a:endParaRPr lang="en-US" altLang="ja-JP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 defTabSz="914400" eaLnBrk="1" hangingPunct="1"/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2: (a-Si)</a:t>
            </a:r>
            <a:endParaRPr lang="en-US" altLang="ja-JP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 defTabSz="914400" eaLnBrk="1" hangingPunct="1"/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3: (a-Si)</a:t>
            </a:r>
            <a:endParaRPr lang="en-US" altLang="ja-JP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 defTabSz="914400" eaLnBrk="1" hangingPunct="1"/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3: (LTPS)</a:t>
            </a:r>
            <a:endParaRPr lang="ja-JP" alt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55" name="Picture 66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6545263" y="2239963"/>
            <a:ext cx="923925" cy="61753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256" name="Picture 68" descr="PK2010122502100062_size0.jpg">
            <a:hlinkClick r:id="rId13"/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5303838" y="2257425"/>
            <a:ext cx="1154112" cy="614363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2" name="Group 11"/>
          <p:cNvGrpSpPr/>
          <p:nvPr/>
        </p:nvGrpSpPr>
        <p:grpSpPr bwMode="auto">
          <a:xfrm>
            <a:off x="6025703" y="1653403"/>
            <a:ext cx="3501897" cy="3598863"/>
            <a:chOff x="2871" y="731"/>
            <a:chExt cx="2206" cy="2267"/>
          </a:xfrm>
          <a:solidFill>
            <a:srgbClr val="C3D7F0"/>
          </a:solidFill>
        </p:grpSpPr>
        <p:sp>
          <p:nvSpPr>
            <p:cNvPr id="72" name="Freeform 12"/>
            <p:cNvSpPr>
              <a:spLocks noChangeAspect="1"/>
            </p:cNvSpPr>
            <p:nvPr/>
          </p:nvSpPr>
          <p:spPr bwMode="ltGray">
            <a:xfrm>
              <a:off x="4296" y="731"/>
              <a:ext cx="781" cy="651"/>
            </a:xfrm>
            <a:custGeom>
              <a:avLst/>
              <a:gdLst>
                <a:gd name="T0" fmla="*/ 295 w 783"/>
                <a:gd name="T1" fmla="*/ 64 h 707"/>
                <a:gd name="T2" fmla="*/ 391 w 783"/>
                <a:gd name="T3" fmla="*/ 164 h 707"/>
                <a:gd name="T4" fmla="*/ 475 w 783"/>
                <a:gd name="T5" fmla="*/ 216 h 707"/>
                <a:gd name="T6" fmla="*/ 523 w 783"/>
                <a:gd name="T7" fmla="*/ 224 h 707"/>
                <a:gd name="T8" fmla="*/ 583 w 783"/>
                <a:gd name="T9" fmla="*/ 240 h 707"/>
                <a:gd name="T10" fmla="*/ 659 w 783"/>
                <a:gd name="T11" fmla="*/ 168 h 707"/>
                <a:gd name="T12" fmla="*/ 663 w 783"/>
                <a:gd name="T13" fmla="*/ 292 h 707"/>
                <a:gd name="T14" fmla="*/ 679 w 783"/>
                <a:gd name="T15" fmla="*/ 332 h 707"/>
                <a:gd name="T16" fmla="*/ 755 w 783"/>
                <a:gd name="T17" fmla="*/ 316 h 707"/>
                <a:gd name="T18" fmla="*/ 783 w 783"/>
                <a:gd name="T19" fmla="*/ 264 h 707"/>
                <a:gd name="T20" fmla="*/ 751 w 783"/>
                <a:gd name="T21" fmla="*/ 320 h 707"/>
                <a:gd name="T22" fmla="*/ 695 w 783"/>
                <a:gd name="T23" fmla="*/ 364 h 707"/>
                <a:gd name="T24" fmla="*/ 643 w 783"/>
                <a:gd name="T25" fmla="*/ 388 h 707"/>
                <a:gd name="T26" fmla="*/ 579 w 783"/>
                <a:gd name="T27" fmla="*/ 408 h 707"/>
                <a:gd name="T28" fmla="*/ 495 w 783"/>
                <a:gd name="T29" fmla="*/ 448 h 707"/>
                <a:gd name="T30" fmla="*/ 439 w 783"/>
                <a:gd name="T31" fmla="*/ 520 h 707"/>
                <a:gd name="T32" fmla="*/ 439 w 783"/>
                <a:gd name="T33" fmla="*/ 592 h 707"/>
                <a:gd name="T34" fmla="*/ 371 w 783"/>
                <a:gd name="T35" fmla="*/ 564 h 707"/>
                <a:gd name="T36" fmla="*/ 291 w 783"/>
                <a:gd name="T37" fmla="*/ 516 h 707"/>
                <a:gd name="T38" fmla="*/ 213 w 783"/>
                <a:gd name="T39" fmla="*/ 503 h 707"/>
                <a:gd name="T40" fmla="*/ 147 w 783"/>
                <a:gd name="T41" fmla="*/ 551 h 707"/>
                <a:gd name="T42" fmla="*/ 108 w 783"/>
                <a:gd name="T43" fmla="*/ 506 h 707"/>
                <a:gd name="T44" fmla="*/ 66 w 783"/>
                <a:gd name="T45" fmla="*/ 554 h 707"/>
                <a:gd name="T46" fmla="*/ 117 w 783"/>
                <a:gd name="T47" fmla="*/ 578 h 707"/>
                <a:gd name="T48" fmla="*/ 162 w 783"/>
                <a:gd name="T49" fmla="*/ 617 h 707"/>
                <a:gd name="T50" fmla="*/ 162 w 783"/>
                <a:gd name="T51" fmla="*/ 650 h 707"/>
                <a:gd name="T52" fmla="*/ 114 w 783"/>
                <a:gd name="T53" fmla="*/ 632 h 707"/>
                <a:gd name="T54" fmla="*/ 90 w 783"/>
                <a:gd name="T55" fmla="*/ 683 h 707"/>
                <a:gd name="T56" fmla="*/ 42 w 783"/>
                <a:gd name="T57" fmla="*/ 707 h 707"/>
                <a:gd name="T58" fmla="*/ 27 w 783"/>
                <a:gd name="T59" fmla="*/ 665 h 707"/>
                <a:gd name="T60" fmla="*/ 45 w 783"/>
                <a:gd name="T61" fmla="*/ 608 h 707"/>
                <a:gd name="T62" fmla="*/ 0 w 783"/>
                <a:gd name="T63" fmla="*/ 557 h 707"/>
                <a:gd name="T64" fmla="*/ 6 w 783"/>
                <a:gd name="T65" fmla="*/ 509 h 707"/>
                <a:gd name="T66" fmla="*/ 39 w 783"/>
                <a:gd name="T67" fmla="*/ 473 h 707"/>
                <a:gd name="T68" fmla="*/ 81 w 783"/>
                <a:gd name="T69" fmla="*/ 437 h 707"/>
                <a:gd name="T70" fmla="*/ 72 w 783"/>
                <a:gd name="T71" fmla="*/ 371 h 707"/>
                <a:gd name="T72" fmla="*/ 123 w 783"/>
                <a:gd name="T73" fmla="*/ 398 h 707"/>
                <a:gd name="T74" fmla="*/ 156 w 783"/>
                <a:gd name="T75" fmla="*/ 401 h 707"/>
                <a:gd name="T76" fmla="*/ 183 w 783"/>
                <a:gd name="T77" fmla="*/ 356 h 707"/>
                <a:gd name="T78" fmla="*/ 189 w 783"/>
                <a:gd name="T79" fmla="*/ 290 h 707"/>
                <a:gd name="T80" fmla="*/ 210 w 783"/>
                <a:gd name="T81" fmla="*/ 215 h 707"/>
                <a:gd name="T82" fmla="*/ 225 w 783"/>
                <a:gd name="T83" fmla="*/ 152 h 707"/>
                <a:gd name="T84" fmla="*/ 201 w 783"/>
                <a:gd name="T85" fmla="*/ 83 h 707"/>
                <a:gd name="T86" fmla="*/ 195 w 783"/>
                <a:gd name="T87" fmla="*/ 17 h 707"/>
                <a:gd name="T88" fmla="*/ 235 w 783"/>
                <a:gd name="T89" fmla="*/ 0 h 70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83"/>
                <a:gd name="T136" fmla="*/ 0 h 707"/>
                <a:gd name="T137" fmla="*/ 783 w 783"/>
                <a:gd name="T138" fmla="*/ 707 h 70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83" h="707">
                  <a:moveTo>
                    <a:pt x="235" y="0"/>
                  </a:moveTo>
                  <a:lnTo>
                    <a:pt x="295" y="64"/>
                  </a:lnTo>
                  <a:lnTo>
                    <a:pt x="343" y="124"/>
                  </a:lnTo>
                  <a:lnTo>
                    <a:pt x="391" y="164"/>
                  </a:lnTo>
                  <a:lnTo>
                    <a:pt x="451" y="200"/>
                  </a:lnTo>
                  <a:lnTo>
                    <a:pt x="475" y="216"/>
                  </a:lnTo>
                  <a:lnTo>
                    <a:pt x="499" y="208"/>
                  </a:lnTo>
                  <a:lnTo>
                    <a:pt x="523" y="224"/>
                  </a:lnTo>
                  <a:lnTo>
                    <a:pt x="547" y="236"/>
                  </a:lnTo>
                  <a:lnTo>
                    <a:pt x="583" y="240"/>
                  </a:lnTo>
                  <a:lnTo>
                    <a:pt x="631" y="196"/>
                  </a:lnTo>
                  <a:lnTo>
                    <a:pt x="659" y="168"/>
                  </a:lnTo>
                  <a:lnTo>
                    <a:pt x="627" y="264"/>
                  </a:lnTo>
                  <a:lnTo>
                    <a:pt x="663" y="292"/>
                  </a:lnTo>
                  <a:lnTo>
                    <a:pt x="659" y="316"/>
                  </a:lnTo>
                  <a:lnTo>
                    <a:pt x="679" y="332"/>
                  </a:lnTo>
                  <a:lnTo>
                    <a:pt x="727" y="312"/>
                  </a:lnTo>
                  <a:lnTo>
                    <a:pt x="755" y="316"/>
                  </a:lnTo>
                  <a:lnTo>
                    <a:pt x="763" y="288"/>
                  </a:lnTo>
                  <a:lnTo>
                    <a:pt x="783" y="264"/>
                  </a:lnTo>
                  <a:lnTo>
                    <a:pt x="783" y="288"/>
                  </a:lnTo>
                  <a:lnTo>
                    <a:pt x="751" y="320"/>
                  </a:lnTo>
                  <a:lnTo>
                    <a:pt x="703" y="340"/>
                  </a:lnTo>
                  <a:lnTo>
                    <a:pt x="695" y="364"/>
                  </a:lnTo>
                  <a:lnTo>
                    <a:pt x="667" y="368"/>
                  </a:lnTo>
                  <a:lnTo>
                    <a:pt x="643" y="388"/>
                  </a:lnTo>
                  <a:lnTo>
                    <a:pt x="607" y="408"/>
                  </a:lnTo>
                  <a:lnTo>
                    <a:pt x="579" y="408"/>
                  </a:lnTo>
                  <a:lnTo>
                    <a:pt x="543" y="408"/>
                  </a:lnTo>
                  <a:lnTo>
                    <a:pt x="495" y="448"/>
                  </a:lnTo>
                  <a:lnTo>
                    <a:pt x="451" y="492"/>
                  </a:lnTo>
                  <a:lnTo>
                    <a:pt x="439" y="520"/>
                  </a:lnTo>
                  <a:lnTo>
                    <a:pt x="443" y="576"/>
                  </a:lnTo>
                  <a:lnTo>
                    <a:pt x="439" y="592"/>
                  </a:lnTo>
                  <a:lnTo>
                    <a:pt x="407" y="572"/>
                  </a:lnTo>
                  <a:lnTo>
                    <a:pt x="371" y="564"/>
                  </a:lnTo>
                  <a:lnTo>
                    <a:pt x="331" y="544"/>
                  </a:lnTo>
                  <a:lnTo>
                    <a:pt x="291" y="516"/>
                  </a:lnTo>
                  <a:lnTo>
                    <a:pt x="251" y="500"/>
                  </a:lnTo>
                  <a:lnTo>
                    <a:pt x="213" y="503"/>
                  </a:lnTo>
                  <a:lnTo>
                    <a:pt x="177" y="518"/>
                  </a:lnTo>
                  <a:lnTo>
                    <a:pt x="147" y="551"/>
                  </a:lnTo>
                  <a:lnTo>
                    <a:pt x="132" y="524"/>
                  </a:lnTo>
                  <a:lnTo>
                    <a:pt x="108" y="506"/>
                  </a:lnTo>
                  <a:lnTo>
                    <a:pt x="72" y="524"/>
                  </a:lnTo>
                  <a:lnTo>
                    <a:pt x="66" y="554"/>
                  </a:lnTo>
                  <a:lnTo>
                    <a:pt x="81" y="578"/>
                  </a:lnTo>
                  <a:lnTo>
                    <a:pt x="117" y="578"/>
                  </a:lnTo>
                  <a:lnTo>
                    <a:pt x="141" y="605"/>
                  </a:lnTo>
                  <a:lnTo>
                    <a:pt x="162" y="617"/>
                  </a:lnTo>
                  <a:lnTo>
                    <a:pt x="180" y="629"/>
                  </a:lnTo>
                  <a:lnTo>
                    <a:pt x="162" y="650"/>
                  </a:lnTo>
                  <a:lnTo>
                    <a:pt x="138" y="647"/>
                  </a:lnTo>
                  <a:lnTo>
                    <a:pt x="114" y="632"/>
                  </a:lnTo>
                  <a:lnTo>
                    <a:pt x="99" y="656"/>
                  </a:lnTo>
                  <a:lnTo>
                    <a:pt x="90" y="683"/>
                  </a:lnTo>
                  <a:lnTo>
                    <a:pt x="63" y="695"/>
                  </a:lnTo>
                  <a:lnTo>
                    <a:pt x="42" y="707"/>
                  </a:lnTo>
                  <a:lnTo>
                    <a:pt x="24" y="692"/>
                  </a:lnTo>
                  <a:lnTo>
                    <a:pt x="27" y="665"/>
                  </a:lnTo>
                  <a:lnTo>
                    <a:pt x="45" y="635"/>
                  </a:lnTo>
                  <a:lnTo>
                    <a:pt x="45" y="608"/>
                  </a:lnTo>
                  <a:lnTo>
                    <a:pt x="15" y="593"/>
                  </a:lnTo>
                  <a:lnTo>
                    <a:pt x="0" y="557"/>
                  </a:lnTo>
                  <a:lnTo>
                    <a:pt x="6" y="530"/>
                  </a:lnTo>
                  <a:lnTo>
                    <a:pt x="6" y="509"/>
                  </a:lnTo>
                  <a:lnTo>
                    <a:pt x="15" y="491"/>
                  </a:lnTo>
                  <a:lnTo>
                    <a:pt x="39" y="473"/>
                  </a:lnTo>
                  <a:lnTo>
                    <a:pt x="60" y="458"/>
                  </a:lnTo>
                  <a:lnTo>
                    <a:pt x="81" y="437"/>
                  </a:lnTo>
                  <a:lnTo>
                    <a:pt x="51" y="392"/>
                  </a:lnTo>
                  <a:lnTo>
                    <a:pt x="72" y="371"/>
                  </a:lnTo>
                  <a:lnTo>
                    <a:pt x="93" y="383"/>
                  </a:lnTo>
                  <a:lnTo>
                    <a:pt x="123" y="398"/>
                  </a:lnTo>
                  <a:lnTo>
                    <a:pt x="144" y="392"/>
                  </a:lnTo>
                  <a:lnTo>
                    <a:pt x="156" y="401"/>
                  </a:lnTo>
                  <a:lnTo>
                    <a:pt x="180" y="389"/>
                  </a:lnTo>
                  <a:lnTo>
                    <a:pt x="183" y="356"/>
                  </a:lnTo>
                  <a:lnTo>
                    <a:pt x="180" y="311"/>
                  </a:lnTo>
                  <a:lnTo>
                    <a:pt x="189" y="290"/>
                  </a:lnTo>
                  <a:lnTo>
                    <a:pt x="213" y="263"/>
                  </a:lnTo>
                  <a:lnTo>
                    <a:pt x="210" y="215"/>
                  </a:lnTo>
                  <a:lnTo>
                    <a:pt x="219" y="182"/>
                  </a:lnTo>
                  <a:lnTo>
                    <a:pt x="225" y="152"/>
                  </a:lnTo>
                  <a:lnTo>
                    <a:pt x="216" y="125"/>
                  </a:lnTo>
                  <a:lnTo>
                    <a:pt x="201" y="83"/>
                  </a:lnTo>
                  <a:lnTo>
                    <a:pt x="195" y="47"/>
                  </a:lnTo>
                  <a:lnTo>
                    <a:pt x="195" y="17"/>
                  </a:lnTo>
                  <a:lnTo>
                    <a:pt x="219" y="23"/>
                  </a:lnTo>
                  <a:lnTo>
                    <a:pt x="235" y="0"/>
                  </a:lnTo>
                  <a:close/>
                </a:path>
              </a:pathLst>
            </a:cu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Freeform 13"/>
            <p:cNvSpPr>
              <a:spLocks noChangeAspect="1"/>
            </p:cNvSpPr>
            <p:nvPr/>
          </p:nvSpPr>
          <p:spPr bwMode="ltGray">
            <a:xfrm>
              <a:off x="4106" y="1863"/>
              <a:ext cx="66" cy="95"/>
            </a:xfrm>
            <a:custGeom>
              <a:avLst/>
              <a:gdLst/>
              <a:ahLst/>
              <a:cxnLst>
                <a:cxn ang="0">
                  <a:pos x="11" y="71"/>
                </a:cxn>
                <a:cxn ang="0">
                  <a:pos x="22" y="27"/>
                </a:cxn>
                <a:cxn ang="0">
                  <a:pos x="31" y="14"/>
                </a:cxn>
                <a:cxn ang="0">
                  <a:pos x="40" y="0"/>
                </a:cxn>
                <a:cxn ang="0">
                  <a:pos x="47" y="11"/>
                </a:cxn>
                <a:cxn ang="0">
                  <a:pos x="40" y="26"/>
                </a:cxn>
                <a:cxn ang="0">
                  <a:pos x="49" y="45"/>
                </a:cxn>
                <a:cxn ang="0">
                  <a:pos x="50" y="66"/>
                </a:cxn>
                <a:cxn ang="0">
                  <a:pos x="19" y="104"/>
                </a:cxn>
                <a:cxn ang="0">
                  <a:pos x="4" y="98"/>
                </a:cxn>
                <a:cxn ang="0">
                  <a:pos x="13" y="83"/>
                </a:cxn>
                <a:cxn ang="0">
                  <a:pos x="11" y="71"/>
                </a:cxn>
              </a:cxnLst>
              <a:rect l="0" t="0" r="r" b="b"/>
              <a:pathLst>
                <a:path w="67" h="104">
                  <a:moveTo>
                    <a:pt x="11" y="71"/>
                  </a:moveTo>
                  <a:cubicBezTo>
                    <a:pt x="1" y="54"/>
                    <a:pt x="6" y="37"/>
                    <a:pt x="22" y="27"/>
                  </a:cubicBezTo>
                  <a:cubicBezTo>
                    <a:pt x="25" y="23"/>
                    <a:pt x="28" y="18"/>
                    <a:pt x="31" y="14"/>
                  </a:cubicBezTo>
                  <a:cubicBezTo>
                    <a:pt x="32" y="7"/>
                    <a:pt x="37" y="6"/>
                    <a:pt x="40" y="0"/>
                  </a:cubicBezTo>
                  <a:cubicBezTo>
                    <a:pt x="48" y="2"/>
                    <a:pt x="50" y="3"/>
                    <a:pt x="47" y="11"/>
                  </a:cubicBezTo>
                  <a:cubicBezTo>
                    <a:pt x="46" y="18"/>
                    <a:pt x="43" y="20"/>
                    <a:pt x="40" y="26"/>
                  </a:cubicBezTo>
                  <a:cubicBezTo>
                    <a:pt x="41" y="33"/>
                    <a:pt x="41" y="43"/>
                    <a:pt x="49" y="45"/>
                  </a:cubicBezTo>
                  <a:cubicBezTo>
                    <a:pt x="67" y="42"/>
                    <a:pt x="56" y="59"/>
                    <a:pt x="50" y="66"/>
                  </a:cubicBezTo>
                  <a:cubicBezTo>
                    <a:pt x="44" y="92"/>
                    <a:pt x="31" y="83"/>
                    <a:pt x="19" y="104"/>
                  </a:cubicBezTo>
                  <a:cubicBezTo>
                    <a:pt x="13" y="102"/>
                    <a:pt x="9" y="102"/>
                    <a:pt x="4" y="98"/>
                  </a:cubicBezTo>
                  <a:cubicBezTo>
                    <a:pt x="0" y="89"/>
                    <a:pt x="6" y="87"/>
                    <a:pt x="13" y="83"/>
                  </a:cubicBezTo>
                  <a:cubicBezTo>
                    <a:pt x="11" y="72"/>
                    <a:pt x="11" y="76"/>
                    <a:pt x="11" y="71"/>
                  </a:cubicBez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6" name="Freeform 14"/>
            <p:cNvSpPr>
              <a:spLocks noChangeAspect="1"/>
            </p:cNvSpPr>
            <p:nvPr/>
          </p:nvSpPr>
          <p:spPr bwMode="ltGray">
            <a:xfrm>
              <a:off x="3236" y="2492"/>
              <a:ext cx="399" cy="262"/>
            </a:xfrm>
            <a:custGeom>
              <a:avLst/>
              <a:gdLst>
                <a:gd name="T0" fmla="*/ 216 w 400"/>
                <a:gd name="T1" fmla="*/ 168 h 285"/>
                <a:gd name="T2" fmla="*/ 246 w 400"/>
                <a:gd name="T3" fmla="*/ 150 h 285"/>
                <a:gd name="T4" fmla="*/ 274 w 400"/>
                <a:gd name="T5" fmla="*/ 154 h 285"/>
                <a:gd name="T6" fmla="*/ 298 w 400"/>
                <a:gd name="T7" fmla="*/ 175 h 285"/>
                <a:gd name="T8" fmla="*/ 315 w 400"/>
                <a:gd name="T9" fmla="*/ 202 h 285"/>
                <a:gd name="T10" fmla="*/ 328 w 400"/>
                <a:gd name="T11" fmla="*/ 172 h 285"/>
                <a:gd name="T12" fmla="*/ 342 w 400"/>
                <a:gd name="T13" fmla="*/ 141 h 285"/>
                <a:gd name="T14" fmla="*/ 370 w 400"/>
                <a:gd name="T15" fmla="*/ 121 h 285"/>
                <a:gd name="T16" fmla="*/ 400 w 400"/>
                <a:gd name="T17" fmla="*/ 105 h 285"/>
                <a:gd name="T18" fmla="*/ 397 w 400"/>
                <a:gd name="T19" fmla="*/ 81 h 285"/>
                <a:gd name="T20" fmla="*/ 378 w 400"/>
                <a:gd name="T21" fmla="*/ 69 h 285"/>
                <a:gd name="T22" fmla="*/ 396 w 400"/>
                <a:gd name="T23" fmla="*/ 43 h 285"/>
                <a:gd name="T24" fmla="*/ 369 w 400"/>
                <a:gd name="T25" fmla="*/ 30 h 285"/>
                <a:gd name="T26" fmla="*/ 346 w 400"/>
                <a:gd name="T27" fmla="*/ 21 h 285"/>
                <a:gd name="T28" fmla="*/ 316 w 400"/>
                <a:gd name="T29" fmla="*/ 0 h 285"/>
                <a:gd name="T30" fmla="*/ 297 w 400"/>
                <a:gd name="T31" fmla="*/ 7 h 285"/>
                <a:gd name="T32" fmla="*/ 262 w 400"/>
                <a:gd name="T33" fmla="*/ 15 h 285"/>
                <a:gd name="T34" fmla="*/ 234 w 400"/>
                <a:gd name="T35" fmla="*/ 18 h 285"/>
                <a:gd name="T36" fmla="*/ 246 w 400"/>
                <a:gd name="T37" fmla="*/ 43 h 285"/>
                <a:gd name="T38" fmla="*/ 214 w 400"/>
                <a:gd name="T39" fmla="*/ 61 h 285"/>
                <a:gd name="T40" fmla="*/ 183 w 400"/>
                <a:gd name="T41" fmla="*/ 72 h 285"/>
                <a:gd name="T42" fmla="*/ 163 w 400"/>
                <a:gd name="T43" fmla="*/ 61 h 285"/>
                <a:gd name="T44" fmla="*/ 154 w 400"/>
                <a:gd name="T45" fmla="*/ 34 h 285"/>
                <a:gd name="T46" fmla="*/ 139 w 400"/>
                <a:gd name="T47" fmla="*/ 49 h 285"/>
                <a:gd name="T48" fmla="*/ 112 w 400"/>
                <a:gd name="T49" fmla="*/ 79 h 285"/>
                <a:gd name="T50" fmla="*/ 106 w 400"/>
                <a:gd name="T51" fmla="*/ 105 h 285"/>
                <a:gd name="T52" fmla="*/ 76 w 400"/>
                <a:gd name="T53" fmla="*/ 123 h 285"/>
                <a:gd name="T54" fmla="*/ 60 w 400"/>
                <a:gd name="T55" fmla="*/ 141 h 285"/>
                <a:gd name="T56" fmla="*/ 34 w 400"/>
                <a:gd name="T57" fmla="*/ 153 h 285"/>
                <a:gd name="T58" fmla="*/ 10 w 400"/>
                <a:gd name="T59" fmla="*/ 160 h 285"/>
                <a:gd name="T60" fmla="*/ 15 w 400"/>
                <a:gd name="T61" fmla="*/ 166 h 285"/>
                <a:gd name="T62" fmla="*/ 39 w 400"/>
                <a:gd name="T63" fmla="*/ 157 h 285"/>
                <a:gd name="T64" fmla="*/ 58 w 400"/>
                <a:gd name="T65" fmla="*/ 166 h 285"/>
                <a:gd name="T66" fmla="*/ 64 w 400"/>
                <a:gd name="T67" fmla="*/ 187 h 285"/>
                <a:gd name="T68" fmla="*/ 69 w 400"/>
                <a:gd name="T69" fmla="*/ 202 h 285"/>
                <a:gd name="T70" fmla="*/ 58 w 400"/>
                <a:gd name="T71" fmla="*/ 220 h 285"/>
                <a:gd name="T72" fmla="*/ 67 w 400"/>
                <a:gd name="T73" fmla="*/ 243 h 285"/>
                <a:gd name="T74" fmla="*/ 97 w 400"/>
                <a:gd name="T75" fmla="*/ 250 h 285"/>
                <a:gd name="T76" fmla="*/ 106 w 400"/>
                <a:gd name="T77" fmla="*/ 274 h 285"/>
                <a:gd name="T78" fmla="*/ 133 w 400"/>
                <a:gd name="T79" fmla="*/ 273 h 285"/>
                <a:gd name="T80" fmla="*/ 145 w 400"/>
                <a:gd name="T81" fmla="*/ 265 h 285"/>
                <a:gd name="T82" fmla="*/ 156 w 400"/>
                <a:gd name="T83" fmla="*/ 240 h 285"/>
                <a:gd name="T84" fmla="*/ 180 w 400"/>
                <a:gd name="T85" fmla="*/ 211 h 285"/>
                <a:gd name="T86" fmla="*/ 189 w 400"/>
                <a:gd name="T87" fmla="*/ 184 h 28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00"/>
                <a:gd name="T133" fmla="*/ 0 h 285"/>
                <a:gd name="T134" fmla="*/ 400 w 400"/>
                <a:gd name="T135" fmla="*/ 285 h 28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00" h="285">
                  <a:moveTo>
                    <a:pt x="201" y="174"/>
                  </a:moveTo>
                  <a:lnTo>
                    <a:pt x="216" y="168"/>
                  </a:lnTo>
                  <a:lnTo>
                    <a:pt x="232" y="154"/>
                  </a:lnTo>
                  <a:lnTo>
                    <a:pt x="246" y="150"/>
                  </a:lnTo>
                  <a:lnTo>
                    <a:pt x="259" y="150"/>
                  </a:lnTo>
                  <a:lnTo>
                    <a:pt x="274" y="154"/>
                  </a:lnTo>
                  <a:lnTo>
                    <a:pt x="286" y="162"/>
                  </a:lnTo>
                  <a:lnTo>
                    <a:pt x="298" y="175"/>
                  </a:lnTo>
                  <a:lnTo>
                    <a:pt x="307" y="187"/>
                  </a:lnTo>
                  <a:lnTo>
                    <a:pt x="315" y="202"/>
                  </a:lnTo>
                  <a:lnTo>
                    <a:pt x="328" y="189"/>
                  </a:lnTo>
                  <a:lnTo>
                    <a:pt x="328" y="172"/>
                  </a:lnTo>
                  <a:lnTo>
                    <a:pt x="336" y="156"/>
                  </a:lnTo>
                  <a:lnTo>
                    <a:pt x="342" y="141"/>
                  </a:lnTo>
                  <a:lnTo>
                    <a:pt x="355" y="130"/>
                  </a:lnTo>
                  <a:lnTo>
                    <a:pt x="370" y="121"/>
                  </a:lnTo>
                  <a:lnTo>
                    <a:pt x="387" y="112"/>
                  </a:lnTo>
                  <a:lnTo>
                    <a:pt x="400" y="105"/>
                  </a:lnTo>
                  <a:lnTo>
                    <a:pt x="397" y="94"/>
                  </a:lnTo>
                  <a:lnTo>
                    <a:pt x="397" y="81"/>
                  </a:lnTo>
                  <a:lnTo>
                    <a:pt x="388" y="76"/>
                  </a:lnTo>
                  <a:lnTo>
                    <a:pt x="378" y="69"/>
                  </a:lnTo>
                  <a:lnTo>
                    <a:pt x="382" y="52"/>
                  </a:lnTo>
                  <a:lnTo>
                    <a:pt x="396" y="43"/>
                  </a:lnTo>
                  <a:lnTo>
                    <a:pt x="394" y="33"/>
                  </a:lnTo>
                  <a:lnTo>
                    <a:pt x="369" y="30"/>
                  </a:lnTo>
                  <a:lnTo>
                    <a:pt x="354" y="27"/>
                  </a:lnTo>
                  <a:lnTo>
                    <a:pt x="346" y="21"/>
                  </a:lnTo>
                  <a:lnTo>
                    <a:pt x="331" y="12"/>
                  </a:lnTo>
                  <a:lnTo>
                    <a:pt x="316" y="0"/>
                  </a:lnTo>
                  <a:lnTo>
                    <a:pt x="306" y="1"/>
                  </a:lnTo>
                  <a:lnTo>
                    <a:pt x="297" y="7"/>
                  </a:lnTo>
                  <a:lnTo>
                    <a:pt x="279" y="6"/>
                  </a:lnTo>
                  <a:lnTo>
                    <a:pt x="262" y="15"/>
                  </a:lnTo>
                  <a:lnTo>
                    <a:pt x="250" y="19"/>
                  </a:lnTo>
                  <a:lnTo>
                    <a:pt x="234" y="18"/>
                  </a:lnTo>
                  <a:lnTo>
                    <a:pt x="243" y="27"/>
                  </a:lnTo>
                  <a:lnTo>
                    <a:pt x="246" y="43"/>
                  </a:lnTo>
                  <a:lnTo>
                    <a:pt x="232" y="57"/>
                  </a:lnTo>
                  <a:lnTo>
                    <a:pt x="214" y="61"/>
                  </a:lnTo>
                  <a:lnTo>
                    <a:pt x="195" y="66"/>
                  </a:lnTo>
                  <a:lnTo>
                    <a:pt x="183" y="72"/>
                  </a:lnTo>
                  <a:lnTo>
                    <a:pt x="171" y="69"/>
                  </a:lnTo>
                  <a:lnTo>
                    <a:pt x="163" y="61"/>
                  </a:lnTo>
                  <a:lnTo>
                    <a:pt x="165" y="42"/>
                  </a:lnTo>
                  <a:lnTo>
                    <a:pt x="154" y="34"/>
                  </a:lnTo>
                  <a:lnTo>
                    <a:pt x="148" y="43"/>
                  </a:lnTo>
                  <a:lnTo>
                    <a:pt x="139" y="49"/>
                  </a:lnTo>
                  <a:lnTo>
                    <a:pt x="129" y="57"/>
                  </a:lnTo>
                  <a:lnTo>
                    <a:pt x="112" y="79"/>
                  </a:lnTo>
                  <a:lnTo>
                    <a:pt x="108" y="88"/>
                  </a:lnTo>
                  <a:lnTo>
                    <a:pt x="106" y="105"/>
                  </a:lnTo>
                  <a:lnTo>
                    <a:pt x="93" y="114"/>
                  </a:lnTo>
                  <a:lnTo>
                    <a:pt x="76" y="123"/>
                  </a:lnTo>
                  <a:lnTo>
                    <a:pt x="73" y="133"/>
                  </a:lnTo>
                  <a:lnTo>
                    <a:pt x="60" y="141"/>
                  </a:lnTo>
                  <a:lnTo>
                    <a:pt x="49" y="150"/>
                  </a:lnTo>
                  <a:lnTo>
                    <a:pt x="34" y="153"/>
                  </a:lnTo>
                  <a:lnTo>
                    <a:pt x="21" y="159"/>
                  </a:lnTo>
                  <a:lnTo>
                    <a:pt x="10" y="160"/>
                  </a:lnTo>
                  <a:lnTo>
                    <a:pt x="0" y="162"/>
                  </a:lnTo>
                  <a:lnTo>
                    <a:pt x="15" y="166"/>
                  </a:lnTo>
                  <a:lnTo>
                    <a:pt x="28" y="163"/>
                  </a:lnTo>
                  <a:lnTo>
                    <a:pt x="39" y="157"/>
                  </a:lnTo>
                  <a:lnTo>
                    <a:pt x="49" y="157"/>
                  </a:lnTo>
                  <a:lnTo>
                    <a:pt x="58" y="166"/>
                  </a:lnTo>
                  <a:lnTo>
                    <a:pt x="64" y="175"/>
                  </a:lnTo>
                  <a:lnTo>
                    <a:pt x="64" y="187"/>
                  </a:lnTo>
                  <a:lnTo>
                    <a:pt x="58" y="198"/>
                  </a:lnTo>
                  <a:lnTo>
                    <a:pt x="69" y="202"/>
                  </a:lnTo>
                  <a:lnTo>
                    <a:pt x="73" y="211"/>
                  </a:lnTo>
                  <a:lnTo>
                    <a:pt x="58" y="220"/>
                  </a:lnTo>
                  <a:lnTo>
                    <a:pt x="70" y="232"/>
                  </a:lnTo>
                  <a:lnTo>
                    <a:pt x="67" y="243"/>
                  </a:lnTo>
                  <a:lnTo>
                    <a:pt x="78" y="253"/>
                  </a:lnTo>
                  <a:lnTo>
                    <a:pt x="97" y="250"/>
                  </a:lnTo>
                  <a:lnTo>
                    <a:pt x="93" y="268"/>
                  </a:lnTo>
                  <a:lnTo>
                    <a:pt x="106" y="274"/>
                  </a:lnTo>
                  <a:lnTo>
                    <a:pt x="120" y="282"/>
                  </a:lnTo>
                  <a:lnTo>
                    <a:pt x="133" y="273"/>
                  </a:lnTo>
                  <a:lnTo>
                    <a:pt x="150" y="285"/>
                  </a:lnTo>
                  <a:lnTo>
                    <a:pt x="145" y="265"/>
                  </a:lnTo>
                  <a:lnTo>
                    <a:pt x="150" y="256"/>
                  </a:lnTo>
                  <a:lnTo>
                    <a:pt x="156" y="240"/>
                  </a:lnTo>
                  <a:lnTo>
                    <a:pt x="168" y="225"/>
                  </a:lnTo>
                  <a:lnTo>
                    <a:pt x="180" y="211"/>
                  </a:lnTo>
                  <a:lnTo>
                    <a:pt x="192" y="198"/>
                  </a:lnTo>
                  <a:lnTo>
                    <a:pt x="189" y="184"/>
                  </a:lnTo>
                  <a:lnTo>
                    <a:pt x="201" y="174"/>
                  </a:lnTo>
                  <a:close/>
                </a:path>
              </a:pathLst>
            </a:cu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7" name="Freeform 15"/>
            <p:cNvSpPr>
              <a:spLocks noChangeAspect="1"/>
            </p:cNvSpPr>
            <p:nvPr/>
          </p:nvSpPr>
          <p:spPr bwMode="ltGray">
            <a:xfrm>
              <a:off x="3634" y="2459"/>
              <a:ext cx="43" cy="7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3" y="33"/>
                </a:cxn>
                <a:cxn ang="0">
                  <a:pos x="22" y="23"/>
                </a:cxn>
                <a:cxn ang="0">
                  <a:pos x="30" y="12"/>
                </a:cxn>
                <a:cxn ang="0">
                  <a:pos x="33" y="0"/>
                </a:cxn>
                <a:cxn ang="0">
                  <a:pos x="43" y="6"/>
                </a:cxn>
                <a:cxn ang="0">
                  <a:pos x="40" y="18"/>
                </a:cxn>
                <a:cxn ang="0">
                  <a:pos x="33" y="35"/>
                </a:cxn>
                <a:cxn ang="0">
                  <a:pos x="37" y="51"/>
                </a:cxn>
                <a:cxn ang="0">
                  <a:pos x="39" y="62"/>
                </a:cxn>
                <a:cxn ang="0">
                  <a:pos x="30" y="71"/>
                </a:cxn>
                <a:cxn ang="0">
                  <a:pos x="19" y="75"/>
                </a:cxn>
                <a:cxn ang="0">
                  <a:pos x="7" y="80"/>
                </a:cxn>
                <a:cxn ang="0">
                  <a:pos x="0" y="54"/>
                </a:cxn>
              </a:cxnLst>
              <a:rect l="0" t="0" r="r" b="b"/>
              <a:pathLst>
                <a:path w="43" h="80">
                  <a:moveTo>
                    <a:pt x="0" y="54"/>
                  </a:moveTo>
                  <a:lnTo>
                    <a:pt x="3" y="33"/>
                  </a:lnTo>
                  <a:lnTo>
                    <a:pt x="22" y="23"/>
                  </a:lnTo>
                  <a:lnTo>
                    <a:pt x="30" y="12"/>
                  </a:lnTo>
                  <a:lnTo>
                    <a:pt x="33" y="0"/>
                  </a:lnTo>
                  <a:lnTo>
                    <a:pt x="43" y="6"/>
                  </a:lnTo>
                  <a:lnTo>
                    <a:pt x="40" y="18"/>
                  </a:lnTo>
                  <a:lnTo>
                    <a:pt x="33" y="35"/>
                  </a:lnTo>
                  <a:lnTo>
                    <a:pt x="37" y="51"/>
                  </a:lnTo>
                  <a:lnTo>
                    <a:pt x="39" y="62"/>
                  </a:lnTo>
                  <a:lnTo>
                    <a:pt x="30" y="71"/>
                  </a:lnTo>
                  <a:lnTo>
                    <a:pt x="19" y="75"/>
                  </a:lnTo>
                  <a:lnTo>
                    <a:pt x="7" y="80"/>
                  </a:lnTo>
                  <a:lnTo>
                    <a:pt x="0" y="54"/>
                  </a:ln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9" name="Freeform 16"/>
            <p:cNvSpPr>
              <a:spLocks noChangeAspect="1"/>
            </p:cNvSpPr>
            <p:nvPr/>
          </p:nvSpPr>
          <p:spPr bwMode="ltGray">
            <a:xfrm>
              <a:off x="2871" y="2536"/>
              <a:ext cx="387" cy="462"/>
            </a:xfrm>
            <a:custGeom>
              <a:avLst/>
              <a:gdLst>
                <a:gd name="T0" fmla="*/ 170 w 388"/>
                <a:gd name="T1" fmla="*/ 214 h 502"/>
                <a:gd name="T2" fmla="*/ 126 w 388"/>
                <a:gd name="T3" fmla="*/ 239 h 502"/>
                <a:gd name="T4" fmla="*/ 170 w 388"/>
                <a:gd name="T5" fmla="*/ 240 h 502"/>
                <a:gd name="T6" fmla="*/ 156 w 388"/>
                <a:gd name="T7" fmla="*/ 276 h 502"/>
                <a:gd name="T8" fmla="*/ 132 w 388"/>
                <a:gd name="T9" fmla="*/ 312 h 502"/>
                <a:gd name="T10" fmla="*/ 110 w 388"/>
                <a:gd name="T11" fmla="*/ 330 h 502"/>
                <a:gd name="T12" fmla="*/ 106 w 388"/>
                <a:gd name="T13" fmla="*/ 356 h 502"/>
                <a:gd name="T14" fmla="*/ 110 w 388"/>
                <a:gd name="T15" fmla="*/ 382 h 502"/>
                <a:gd name="T16" fmla="*/ 124 w 388"/>
                <a:gd name="T17" fmla="*/ 410 h 502"/>
                <a:gd name="T18" fmla="*/ 92 w 388"/>
                <a:gd name="T19" fmla="*/ 434 h 502"/>
                <a:gd name="T20" fmla="*/ 110 w 388"/>
                <a:gd name="T21" fmla="*/ 462 h 502"/>
                <a:gd name="T22" fmla="*/ 146 w 388"/>
                <a:gd name="T23" fmla="*/ 470 h 502"/>
                <a:gd name="T24" fmla="*/ 176 w 388"/>
                <a:gd name="T25" fmla="*/ 472 h 502"/>
                <a:gd name="T26" fmla="*/ 160 w 388"/>
                <a:gd name="T27" fmla="*/ 416 h 502"/>
                <a:gd name="T28" fmla="*/ 176 w 388"/>
                <a:gd name="T29" fmla="*/ 380 h 502"/>
                <a:gd name="T30" fmla="*/ 194 w 388"/>
                <a:gd name="T31" fmla="*/ 404 h 502"/>
                <a:gd name="T32" fmla="*/ 172 w 388"/>
                <a:gd name="T33" fmla="*/ 430 h 502"/>
                <a:gd name="T34" fmla="*/ 188 w 388"/>
                <a:gd name="T35" fmla="*/ 460 h 502"/>
                <a:gd name="T36" fmla="*/ 172 w 388"/>
                <a:gd name="T37" fmla="*/ 490 h 502"/>
                <a:gd name="T38" fmla="*/ 198 w 388"/>
                <a:gd name="T39" fmla="*/ 494 h 502"/>
                <a:gd name="T40" fmla="*/ 228 w 388"/>
                <a:gd name="T41" fmla="*/ 478 h 502"/>
                <a:gd name="T42" fmla="*/ 240 w 388"/>
                <a:gd name="T43" fmla="*/ 454 h 502"/>
                <a:gd name="T44" fmla="*/ 240 w 388"/>
                <a:gd name="T45" fmla="*/ 434 h 502"/>
                <a:gd name="T46" fmla="*/ 260 w 388"/>
                <a:gd name="T47" fmla="*/ 456 h 502"/>
                <a:gd name="T48" fmla="*/ 286 w 388"/>
                <a:gd name="T49" fmla="*/ 424 h 502"/>
                <a:gd name="T50" fmla="*/ 296 w 388"/>
                <a:gd name="T51" fmla="*/ 392 h 502"/>
                <a:gd name="T52" fmla="*/ 300 w 388"/>
                <a:gd name="T53" fmla="*/ 348 h 502"/>
                <a:gd name="T54" fmla="*/ 318 w 388"/>
                <a:gd name="T55" fmla="*/ 310 h 502"/>
                <a:gd name="T56" fmla="*/ 330 w 388"/>
                <a:gd name="T57" fmla="*/ 278 h 502"/>
                <a:gd name="T58" fmla="*/ 334 w 388"/>
                <a:gd name="T59" fmla="*/ 258 h 502"/>
                <a:gd name="T60" fmla="*/ 372 w 388"/>
                <a:gd name="T61" fmla="*/ 218 h 502"/>
                <a:gd name="T62" fmla="*/ 388 w 388"/>
                <a:gd name="T63" fmla="*/ 196 h 502"/>
                <a:gd name="T64" fmla="*/ 378 w 388"/>
                <a:gd name="T65" fmla="*/ 170 h 502"/>
                <a:gd name="T66" fmla="*/ 366 w 388"/>
                <a:gd name="T67" fmla="*/ 142 h 502"/>
                <a:gd name="T68" fmla="*/ 352 w 388"/>
                <a:gd name="T69" fmla="*/ 126 h 502"/>
                <a:gd name="T70" fmla="*/ 322 w 388"/>
                <a:gd name="T71" fmla="*/ 118 h 502"/>
                <a:gd name="T72" fmla="*/ 346 w 388"/>
                <a:gd name="T73" fmla="*/ 94 h 502"/>
                <a:gd name="T74" fmla="*/ 340 w 388"/>
                <a:gd name="T75" fmla="*/ 66 h 502"/>
                <a:gd name="T76" fmla="*/ 304 w 388"/>
                <a:gd name="T77" fmla="*/ 62 h 502"/>
                <a:gd name="T78" fmla="*/ 274 w 388"/>
                <a:gd name="T79" fmla="*/ 76 h 502"/>
                <a:gd name="T80" fmla="*/ 248 w 388"/>
                <a:gd name="T81" fmla="*/ 38 h 502"/>
                <a:gd name="T82" fmla="*/ 230 w 388"/>
                <a:gd name="T83" fmla="*/ 16 h 502"/>
                <a:gd name="T84" fmla="*/ 209 w 388"/>
                <a:gd name="T85" fmla="*/ 11 h 502"/>
                <a:gd name="T86" fmla="*/ 174 w 388"/>
                <a:gd name="T87" fmla="*/ 12 h 502"/>
                <a:gd name="T88" fmla="*/ 160 w 388"/>
                <a:gd name="T89" fmla="*/ 48 h 502"/>
                <a:gd name="T90" fmla="*/ 154 w 388"/>
                <a:gd name="T91" fmla="*/ 80 h 502"/>
                <a:gd name="T92" fmla="*/ 134 w 388"/>
                <a:gd name="T93" fmla="*/ 50 h 502"/>
                <a:gd name="T94" fmla="*/ 104 w 388"/>
                <a:gd name="T95" fmla="*/ 59 h 502"/>
                <a:gd name="T96" fmla="*/ 75 w 388"/>
                <a:gd name="T97" fmla="*/ 61 h 502"/>
                <a:gd name="T98" fmla="*/ 53 w 388"/>
                <a:gd name="T99" fmla="*/ 83 h 502"/>
                <a:gd name="T100" fmla="*/ 12 w 388"/>
                <a:gd name="T101" fmla="*/ 101 h 502"/>
                <a:gd name="T102" fmla="*/ 2 w 388"/>
                <a:gd name="T103" fmla="*/ 130 h 502"/>
                <a:gd name="T104" fmla="*/ 36 w 388"/>
                <a:gd name="T105" fmla="*/ 130 h 502"/>
                <a:gd name="T106" fmla="*/ 75 w 388"/>
                <a:gd name="T107" fmla="*/ 153 h 502"/>
                <a:gd name="T108" fmla="*/ 87 w 388"/>
                <a:gd name="T109" fmla="*/ 195 h 502"/>
                <a:gd name="T110" fmla="*/ 102 w 388"/>
                <a:gd name="T111" fmla="*/ 177 h 502"/>
                <a:gd name="T112" fmla="*/ 94 w 388"/>
                <a:gd name="T113" fmla="*/ 132 h 502"/>
                <a:gd name="T114" fmla="*/ 128 w 388"/>
                <a:gd name="T115" fmla="*/ 102 h 502"/>
                <a:gd name="T116" fmla="*/ 152 w 388"/>
                <a:gd name="T117" fmla="*/ 118 h 502"/>
                <a:gd name="T118" fmla="*/ 150 w 388"/>
                <a:gd name="T119" fmla="*/ 150 h 502"/>
                <a:gd name="T120" fmla="*/ 172 w 388"/>
                <a:gd name="T121" fmla="*/ 200 h 5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88"/>
                <a:gd name="T184" fmla="*/ 0 h 502"/>
                <a:gd name="T185" fmla="*/ 388 w 388"/>
                <a:gd name="T186" fmla="*/ 502 h 5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88" h="502">
                  <a:moveTo>
                    <a:pt x="172" y="200"/>
                  </a:moveTo>
                  <a:lnTo>
                    <a:pt x="170" y="214"/>
                  </a:lnTo>
                  <a:lnTo>
                    <a:pt x="141" y="220"/>
                  </a:lnTo>
                  <a:lnTo>
                    <a:pt x="126" y="239"/>
                  </a:lnTo>
                  <a:lnTo>
                    <a:pt x="140" y="242"/>
                  </a:lnTo>
                  <a:lnTo>
                    <a:pt x="170" y="240"/>
                  </a:lnTo>
                  <a:lnTo>
                    <a:pt x="166" y="260"/>
                  </a:lnTo>
                  <a:lnTo>
                    <a:pt x="156" y="276"/>
                  </a:lnTo>
                  <a:lnTo>
                    <a:pt x="142" y="294"/>
                  </a:lnTo>
                  <a:lnTo>
                    <a:pt x="132" y="312"/>
                  </a:lnTo>
                  <a:lnTo>
                    <a:pt x="114" y="316"/>
                  </a:lnTo>
                  <a:lnTo>
                    <a:pt x="110" y="330"/>
                  </a:lnTo>
                  <a:lnTo>
                    <a:pt x="110" y="342"/>
                  </a:lnTo>
                  <a:lnTo>
                    <a:pt x="106" y="356"/>
                  </a:lnTo>
                  <a:lnTo>
                    <a:pt x="102" y="370"/>
                  </a:lnTo>
                  <a:lnTo>
                    <a:pt x="110" y="382"/>
                  </a:lnTo>
                  <a:lnTo>
                    <a:pt x="120" y="396"/>
                  </a:lnTo>
                  <a:lnTo>
                    <a:pt x="124" y="410"/>
                  </a:lnTo>
                  <a:lnTo>
                    <a:pt x="116" y="426"/>
                  </a:lnTo>
                  <a:lnTo>
                    <a:pt x="92" y="434"/>
                  </a:lnTo>
                  <a:lnTo>
                    <a:pt x="102" y="450"/>
                  </a:lnTo>
                  <a:lnTo>
                    <a:pt x="110" y="462"/>
                  </a:lnTo>
                  <a:lnTo>
                    <a:pt x="128" y="462"/>
                  </a:lnTo>
                  <a:lnTo>
                    <a:pt x="146" y="470"/>
                  </a:lnTo>
                  <a:lnTo>
                    <a:pt x="156" y="478"/>
                  </a:lnTo>
                  <a:lnTo>
                    <a:pt x="176" y="472"/>
                  </a:lnTo>
                  <a:lnTo>
                    <a:pt x="164" y="446"/>
                  </a:lnTo>
                  <a:lnTo>
                    <a:pt x="160" y="416"/>
                  </a:lnTo>
                  <a:lnTo>
                    <a:pt x="164" y="398"/>
                  </a:lnTo>
                  <a:lnTo>
                    <a:pt x="176" y="380"/>
                  </a:lnTo>
                  <a:lnTo>
                    <a:pt x="194" y="390"/>
                  </a:lnTo>
                  <a:lnTo>
                    <a:pt x="194" y="404"/>
                  </a:lnTo>
                  <a:lnTo>
                    <a:pt x="178" y="418"/>
                  </a:lnTo>
                  <a:lnTo>
                    <a:pt x="172" y="430"/>
                  </a:lnTo>
                  <a:lnTo>
                    <a:pt x="184" y="442"/>
                  </a:lnTo>
                  <a:lnTo>
                    <a:pt x="188" y="460"/>
                  </a:lnTo>
                  <a:lnTo>
                    <a:pt x="186" y="476"/>
                  </a:lnTo>
                  <a:lnTo>
                    <a:pt x="172" y="490"/>
                  </a:lnTo>
                  <a:lnTo>
                    <a:pt x="168" y="502"/>
                  </a:lnTo>
                  <a:lnTo>
                    <a:pt x="198" y="494"/>
                  </a:lnTo>
                  <a:lnTo>
                    <a:pt x="214" y="496"/>
                  </a:lnTo>
                  <a:lnTo>
                    <a:pt x="228" y="478"/>
                  </a:lnTo>
                  <a:lnTo>
                    <a:pt x="242" y="470"/>
                  </a:lnTo>
                  <a:lnTo>
                    <a:pt x="240" y="454"/>
                  </a:lnTo>
                  <a:lnTo>
                    <a:pt x="228" y="450"/>
                  </a:lnTo>
                  <a:lnTo>
                    <a:pt x="240" y="434"/>
                  </a:lnTo>
                  <a:lnTo>
                    <a:pt x="256" y="444"/>
                  </a:lnTo>
                  <a:lnTo>
                    <a:pt x="260" y="456"/>
                  </a:lnTo>
                  <a:lnTo>
                    <a:pt x="276" y="446"/>
                  </a:lnTo>
                  <a:lnTo>
                    <a:pt x="286" y="424"/>
                  </a:lnTo>
                  <a:lnTo>
                    <a:pt x="286" y="410"/>
                  </a:lnTo>
                  <a:lnTo>
                    <a:pt x="296" y="392"/>
                  </a:lnTo>
                  <a:lnTo>
                    <a:pt x="296" y="370"/>
                  </a:lnTo>
                  <a:lnTo>
                    <a:pt x="300" y="348"/>
                  </a:lnTo>
                  <a:lnTo>
                    <a:pt x="306" y="332"/>
                  </a:lnTo>
                  <a:lnTo>
                    <a:pt x="318" y="310"/>
                  </a:lnTo>
                  <a:lnTo>
                    <a:pt x="324" y="290"/>
                  </a:lnTo>
                  <a:lnTo>
                    <a:pt x="330" y="278"/>
                  </a:lnTo>
                  <a:lnTo>
                    <a:pt x="342" y="272"/>
                  </a:lnTo>
                  <a:lnTo>
                    <a:pt x="334" y="258"/>
                  </a:lnTo>
                  <a:lnTo>
                    <a:pt x="344" y="244"/>
                  </a:lnTo>
                  <a:lnTo>
                    <a:pt x="372" y="218"/>
                  </a:lnTo>
                  <a:lnTo>
                    <a:pt x="382" y="208"/>
                  </a:lnTo>
                  <a:lnTo>
                    <a:pt x="388" y="196"/>
                  </a:lnTo>
                  <a:lnTo>
                    <a:pt x="384" y="180"/>
                  </a:lnTo>
                  <a:lnTo>
                    <a:pt x="378" y="170"/>
                  </a:lnTo>
                  <a:lnTo>
                    <a:pt x="386" y="152"/>
                  </a:lnTo>
                  <a:lnTo>
                    <a:pt x="366" y="142"/>
                  </a:lnTo>
                  <a:lnTo>
                    <a:pt x="368" y="128"/>
                  </a:lnTo>
                  <a:lnTo>
                    <a:pt x="352" y="126"/>
                  </a:lnTo>
                  <a:lnTo>
                    <a:pt x="332" y="126"/>
                  </a:lnTo>
                  <a:lnTo>
                    <a:pt x="322" y="118"/>
                  </a:lnTo>
                  <a:lnTo>
                    <a:pt x="334" y="106"/>
                  </a:lnTo>
                  <a:lnTo>
                    <a:pt x="346" y="94"/>
                  </a:lnTo>
                  <a:lnTo>
                    <a:pt x="350" y="82"/>
                  </a:lnTo>
                  <a:lnTo>
                    <a:pt x="340" y="66"/>
                  </a:lnTo>
                  <a:lnTo>
                    <a:pt x="320" y="54"/>
                  </a:lnTo>
                  <a:lnTo>
                    <a:pt x="304" y="62"/>
                  </a:lnTo>
                  <a:lnTo>
                    <a:pt x="292" y="72"/>
                  </a:lnTo>
                  <a:lnTo>
                    <a:pt x="274" y="76"/>
                  </a:lnTo>
                  <a:lnTo>
                    <a:pt x="254" y="56"/>
                  </a:lnTo>
                  <a:lnTo>
                    <a:pt x="248" y="38"/>
                  </a:lnTo>
                  <a:lnTo>
                    <a:pt x="248" y="20"/>
                  </a:lnTo>
                  <a:lnTo>
                    <a:pt x="230" y="16"/>
                  </a:lnTo>
                  <a:lnTo>
                    <a:pt x="230" y="0"/>
                  </a:lnTo>
                  <a:lnTo>
                    <a:pt x="209" y="11"/>
                  </a:lnTo>
                  <a:lnTo>
                    <a:pt x="188" y="8"/>
                  </a:lnTo>
                  <a:lnTo>
                    <a:pt x="174" y="12"/>
                  </a:lnTo>
                  <a:lnTo>
                    <a:pt x="156" y="30"/>
                  </a:lnTo>
                  <a:lnTo>
                    <a:pt x="160" y="48"/>
                  </a:lnTo>
                  <a:lnTo>
                    <a:pt x="172" y="58"/>
                  </a:lnTo>
                  <a:lnTo>
                    <a:pt x="154" y="80"/>
                  </a:lnTo>
                  <a:lnTo>
                    <a:pt x="144" y="64"/>
                  </a:lnTo>
                  <a:lnTo>
                    <a:pt x="134" y="50"/>
                  </a:lnTo>
                  <a:lnTo>
                    <a:pt x="118" y="56"/>
                  </a:lnTo>
                  <a:lnTo>
                    <a:pt x="104" y="59"/>
                  </a:lnTo>
                  <a:lnTo>
                    <a:pt x="89" y="59"/>
                  </a:lnTo>
                  <a:lnTo>
                    <a:pt x="75" y="61"/>
                  </a:lnTo>
                  <a:lnTo>
                    <a:pt x="69" y="73"/>
                  </a:lnTo>
                  <a:lnTo>
                    <a:pt x="53" y="83"/>
                  </a:lnTo>
                  <a:lnTo>
                    <a:pt x="33" y="89"/>
                  </a:lnTo>
                  <a:lnTo>
                    <a:pt x="12" y="101"/>
                  </a:lnTo>
                  <a:lnTo>
                    <a:pt x="0" y="116"/>
                  </a:lnTo>
                  <a:lnTo>
                    <a:pt x="2" y="130"/>
                  </a:lnTo>
                  <a:lnTo>
                    <a:pt x="35" y="119"/>
                  </a:lnTo>
                  <a:lnTo>
                    <a:pt x="36" y="130"/>
                  </a:lnTo>
                  <a:lnTo>
                    <a:pt x="55" y="138"/>
                  </a:lnTo>
                  <a:lnTo>
                    <a:pt x="75" y="153"/>
                  </a:lnTo>
                  <a:lnTo>
                    <a:pt x="72" y="178"/>
                  </a:lnTo>
                  <a:lnTo>
                    <a:pt x="87" y="195"/>
                  </a:lnTo>
                  <a:lnTo>
                    <a:pt x="102" y="195"/>
                  </a:lnTo>
                  <a:lnTo>
                    <a:pt x="102" y="177"/>
                  </a:lnTo>
                  <a:lnTo>
                    <a:pt x="117" y="163"/>
                  </a:lnTo>
                  <a:lnTo>
                    <a:pt x="94" y="132"/>
                  </a:lnTo>
                  <a:lnTo>
                    <a:pt x="109" y="115"/>
                  </a:lnTo>
                  <a:lnTo>
                    <a:pt x="128" y="102"/>
                  </a:lnTo>
                  <a:lnTo>
                    <a:pt x="136" y="118"/>
                  </a:lnTo>
                  <a:lnTo>
                    <a:pt x="152" y="118"/>
                  </a:lnTo>
                  <a:lnTo>
                    <a:pt x="150" y="136"/>
                  </a:lnTo>
                  <a:lnTo>
                    <a:pt x="150" y="150"/>
                  </a:lnTo>
                  <a:lnTo>
                    <a:pt x="156" y="181"/>
                  </a:lnTo>
                  <a:lnTo>
                    <a:pt x="172" y="200"/>
                  </a:ln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0" name="Freeform 17"/>
            <p:cNvSpPr>
              <a:spLocks noChangeAspect="1"/>
            </p:cNvSpPr>
            <p:nvPr/>
          </p:nvSpPr>
          <p:spPr bwMode="ltGray">
            <a:xfrm>
              <a:off x="2886" y="2862"/>
              <a:ext cx="56" cy="41"/>
            </a:xfrm>
            <a:custGeom>
              <a:avLst/>
              <a:gdLst/>
              <a:ahLst/>
              <a:cxnLst>
                <a:cxn ang="0">
                  <a:pos x="18" y="19"/>
                </a:cxn>
                <a:cxn ang="0">
                  <a:pos x="36" y="7"/>
                </a:cxn>
                <a:cxn ang="0">
                  <a:pos x="48" y="0"/>
                </a:cxn>
                <a:cxn ang="0">
                  <a:pos x="36" y="22"/>
                </a:cxn>
                <a:cxn ang="0">
                  <a:pos x="18" y="45"/>
                </a:cxn>
                <a:cxn ang="0">
                  <a:pos x="3" y="39"/>
                </a:cxn>
                <a:cxn ang="0">
                  <a:pos x="13" y="25"/>
                </a:cxn>
                <a:cxn ang="0">
                  <a:pos x="18" y="19"/>
                </a:cxn>
              </a:cxnLst>
              <a:rect l="0" t="0" r="r" b="b"/>
              <a:pathLst>
                <a:path w="56" h="45">
                  <a:moveTo>
                    <a:pt x="18" y="19"/>
                  </a:moveTo>
                  <a:cubicBezTo>
                    <a:pt x="24" y="15"/>
                    <a:pt x="30" y="11"/>
                    <a:pt x="36" y="7"/>
                  </a:cubicBezTo>
                  <a:cubicBezTo>
                    <a:pt x="40" y="2"/>
                    <a:pt x="42" y="1"/>
                    <a:pt x="48" y="0"/>
                  </a:cubicBezTo>
                  <a:cubicBezTo>
                    <a:pt x="56" y="11"/>
                    <a:pt x="45" y="16"/>
                    <a:pt x="36" y="22"/>
                  </a:cubicBezTo>
                  <a:cubicBezTo>
                    <a:pt x="32" y="33"/>
                    <a:pt x="29" y="40"/>
                    <a:pt x="18" y="45"/>
                  </a:cubicBezTo>
                  <a:cubicBezTo>
                    <a:pt x="12" y="43"/>
                    <a:pt x="8" y="43"/>
                    <a:pt x="3" y="39"/>
                  </a:cubicBezTo>
                  <a:cubicBezTo>
                    <a:pt x="0" y="30"/>
                    <a:pt x="6" y="29"/>
                    <a:pt x="13" y="25"/>
                  </a:cubicBezTo>
                  <a:cubicBezTo>
                    <a:pt x="17" y="20"/>
                    <a:pt x="15" y="22"/>
                    <a:pt x="18" y="19"/>
                  </a:cubicBez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2" name="Freeform 18"/>
            <p:cNvSpPr>
              <a:spLocks noChangeAspect="1"/>
            </p:cNvSpPr>
            <p:nvPr/>
          </p:nvSpPr>
          <p:spPr bwMode="ltGray">
            <a:xfrm>
              <a:off x="2946" y="2760"/>
              <a:ext cx="55" cy="74"/>
            </a:xfrm>
            <a:custGeom>
              <a:avLst/>
              <a:gdLst/>
              <a:ahLst/>
              <a:cxnLst>
                <a:cxn ang="0">
                  <a:pos x="21" y="76"/>
                </a:cxn>
                <a:cxn ang="0">
                  <a:pos x="0" y="63"/>
                </a:cxn>
                <a:cxn ang="0">
                  <a:pos x="6" y="49"/>
                </a:cxn>
                <a:cxn ang="0">
                  <a:pos x="7" y="34"/>
                </a:cxn>
                <a:cxn ang="0">
                  <a:pos x="1" y="19"/>
                </a:cxn>
                <a:cxn ang="0">
                  <a:pos x="24" y="0"/>
                </a:cxn>
                <a:cxn ang="0">
                  <a:pos x="43" y="4"/>
                </a:cxn>
                <a:cxn ang="0">
                  <a:pos x="55" y="15"/>
                </a:cxn>
                <a:cxn ang="0">
                  <a:pos x="39" y="33"/>
                </a:cxn>
                <a:cxn ang="0">
                  <a:pos x="34" y="22"/>
                </a:cxn>
                <a:cxn ang="0">
                  <a:pos x="34" y="37"/>
                </a:cxn>
                <a:cxn ang="0">
                  <a:pos x="24" y="45"/>
                </a:cxn>
                <a:cxn ang="0">
                  <a:pos x="22" y="57"/>
                </a:cxn>
                <a:cxn ang="0">
                  <a:pos x="16" y="67"/>
                </a:cxn>
                <a:cxn ang="0">
                  <a:pos x="21" y="76"/>
                </a:cxn>
              </a:cxnLst>
              <a:rect l="0" t="0" r="r" b="b"/>
              <a:pathLst>
                <a:path w="55" h="81">
                  <a:moveTo>
                    <a:pt x="21" y="76"/>
                  </a:moveTo>
                  <a:cubicBezTo>
                    <a:pt x="9" y="81"/>
                    <a:pt x="6" y="71"/>
                    <a:pt x="0" y="63"/>
                  </a:cubicBezTo>
                  <a:cubicBezTo>
                    <a:pt x="1" y="57"/>
                    <a:pt x="3" y="54"/>
                    <a:pt x="6" y="49"/>
                  </a:cubicBezTo>
                  <a:cubicBezTo>
                    <a:pt x="3" y="43"/>
                    <a:pt x="6" y="40"/>
                    <a:pt x="7" y="34"/>
                  </a:cubicBezTo>
                  <a:cubicBezTo>
                    <a:pt x="6" y="28"/>
                    <a:pt x="3" y="25"/>
                    <a:pt x="1" y="19"/>
                  </a:cubicBezTo>
                  <a:cubicBezTo>
                    <a:pt x="7" y="8"/>
                    <a:pt x="11" y="2"/>
                    <a:pt x="24" y="0"/>
                  </a:cubicBezTo>
                  <a:cubicBezTo>
                    <a:pt x="31" y="1"/>
                    <a:pt x="36" y="3"/>
                    <a:pt x="43" y="4"/>
                  </a:cubicBezTo>
                  <a:cubicBezTo>
                    <a:pt x="50" y="8"/>
                    <a:pt x="54" y="6"/>
                    <a:pt x="55" y="15"/>
                  </a:cubicBezTo>
                  <a:cubicBezTo>
                    <a:pt x="51" y="21"/>
                    <a:pt x="45" y="30"/>
                    <a:pt x="39" y="33"/>
                  </a:cubicBezTo>
                  <a:cubicBezTo>
                    <a:pt x="34" y="25"/>
                    <a:pt x="43" y="26"/>
                    <a:pt x="34" y="22"/>
                  </a:cubicBezTo>
                  <a:cubicBezTo>
                    <a:pt x="27" y="27"/>
                    <a:pt x="27" y="32"/>
                    <a:pt x="34" y="37"/>
                  </a:cubicBezTo>
                  <a:cubicBezTo>
                    <a:pt x="33" y="44"/>
                    <a:pt x="30" y="42"/>
                    <a:pt x="24" y="45"/>
                  </a:cubicBezTo>
                  <a:cubicBezTo>
                    <a:pt x="30" y="50"/>
                    <a:pt x="29" y="54"/>
                    <a:pt x="22" y="57"/>
                  </a:cubicBezTo>
                  <a:cubicBezTo>
                    <a:pt x="14" y="53"/>
                    <a:pt x="20" y="61"/>
                    <a:pt x="16" y="67"/>
                  </a:cubicBezTo>
                  <a:cubicBezTo>
                    <a:pt x="18" y="74"/>
                    <a:pt x="17" y="72"/>
                    <a:pt x="21" y="76"/>
                  </a:cubicBezTo>
                  <a:close/>
                </a:path>
              </a:pathLst>
            </a:cu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3" name="Freeform 19"/>
            <p:cNvSpPr>
              <a:spLocks noChangeAspect="1"/>
            </p:cNvSpPr>
            <p:nvPr/>
          </p:nvSpPr>
          <p:spPr bwMode="ltGray">
            <a:xfrm>
              <a:off x="2901" y="2670"/>
              <a:ext cx="116" cy="87"/>
            </a:xfrm>
            <a:custGeom>
              <a:avLst/>
              <a:gdLst/>
              <a:ahLst/>
              <a:cxnLst>
                <a:cxn ang="0">
                  <a:pos x="3" y="13"/>
                </a:cxn>
                <a:cxn ang="0">
                  <a:pos x="15" y="2"/>
                </a:cxn>
                <a:cxn ang="0">
                  <a:pos x="28" y="17"/>
                </a:cxn>
                <a:cxn ang="0">
                  <a:pos x="28" y="32"/>
                </a:cxn>
                <a:cxn ang="0">
                  <a:pos x="39" y="49"/>
                </a:cxn>
                <a:cxn ang="0">
                  <a:pos x="57" y="59"/>
                </a:cxn>
                <a:cxn ang="0">
                  <a:pos x="72" y="59"/>
                </a:cxn>
                <a:cxn ang="0">
                  <a:pos x="96" y="46"/>
                </a:cxn>
                <a:cxn ang="0">
                  <a:pos x="93" y="71"/>
                </a:cxn>
                <a:cxn ang="0">
                  <a:pos x="79" y="92"/>
                </a:cxn>
                <a:cxn ang="0">
                  <a:pos x="73" y="79"/>
                </a:cxn>
                <a:cxn ang="0">
                  <a:pos x="67" y="64"/>
                </a:cxn>
                <a:cxn ang="0">
                  <a:pos x="49" y="74"/>
                </a:cxn>
                <a:cxn ang="0">
                  <a:pos x="27" y="94"/>
                </a:cxn>
                <a:cxn ang="0">
                  <a:pos x="30" y="79"/>
                </a:cxn>
                <a:cxn ang="0">
                  <a:pos x="31" y="65"/>
                </a:cxn>
                <a:cxn ang="0">
                  <a:pos x="16" y="53"/>
                </a:cxn>
                <a:cxn ang="0">
                  <a:pos x="1" y="34"/>
                </a:cxn>
                <a:cxn ang="0">
                  <a:pos x="3" y="13"/>
                </a:cxn>
              </a:cxnLst>
              <a:rect l="0" t="0" r="r" b="b"/>
              <a:pathLst>
                <a:path w="116" h="94">
                  <a:moveTo>
                    <a:pt x="3" y="13"/>
                  </a:moveTo>
                  <a:cubicBezTo>
                    <a:pt x="4" y="4"/>
                    <a:pt x="5" y="0"/>
                    <a:pt x="15" y="2"/>
                  </a:cubicBezTo>
                  <a:cubicBezTo>
                    <a:pt x="18" y="7"/>
                    <a:pt x="23" y="13"/>
                    <a:pt x="28" y="17"/>
                  </a:cubicBezTo>
                  <a:cubicBezTo>
                    <a:pt x="32" y="23"/>
                    <a:pt x="31" y="26"/>
                    <a:pt x="28" y="32"/>
                  </a:cubicBezTo>
                  <a:cubicBezTo>
                    <a:pt x="26" y="41"/>
                    <a:pt x="32" y="45"/>
                    <a:pt x="39" y="49"/>
                  </a:cubicBezTo>
                  <a:cubicBezTo>
                    <a:pt x="44" y="55"/>
                    <a:pt x="50" y="58"/>
                    <a:pt x="57" y="59"/>
                  </a:cubicBezTo>
                  <a:cubicBezTo>
                    <a:pt x="63" y="55"/>
                    <a:pt x="65" y="58"/>
                    <a:pt x="72" y="59"/>
                  </a:cubicBezTo>
                  <a:cubicBezTo>
                    <a:pt x="82" y="67"/>
                    <a:pt x="87" y="51"/>
                    <a:pt x="96" y="46"/>
                  </a:cubicBezTo>
                  <a:cubicBezTo>
                    <a:pt x="116" y="49"/>
                    <a:pt x="102" y="64"/>
                    <a:pt x="93" y="71"/>
                  </a:cubicBezTo>
                  <a:cubicBezTo>
                    <a:pt x="90" y="79"/>
                    <a:pt x="87" y="87"/>
                    <a:pt x="79" y="92"/>
                  </a:cubicBezTo>
                  <a:cubicBezTo>
                    <a:pt x="73" y="88"/>
                    <a:pt x="72" y="87"/>
                    <a:pt x="73" y="79"/>
                  </a:cubicBezTo>
                  <a:cubicBezTo>
                    <a:pt x="72" y="73"/>
                    <a:pt x="71" y="69"/>
                    <a:pt x="67" y="64"/>
                  </a:cubicBezTo>
                  <a:cubicBezTo>
                    <a:pt x="61" y="68"/>
                    <a:pt x="56" y="73"/>
                    <a:pt x="49" y="74"/>
                  </a:cubicBezTo>
                  <a:cubicBezTo>
                    <a:pt x="40" y="81"/>
                    <a:pt x="38" y="89"/>
                    <a:pt x="27" y="94"/>
                  </a:cubicBezTo>
                  <a:cubicBezTo>
                    <a:pt x="18" y="91"/>
                    <a:pt x="26" y="85"/>
                    <a:pt x="30" y="79"/>
                  </a:cubicBezTo>
                  <a:cubicBezTo>
                    <a:pt x="27" y="73"/>
                    <a:pt x="30" y="72"/>
                    <a:pt x="31" y="65"/>
                  </a:cubicBezTo>
                  <a:cubicBezTo>
                    <a:pt x="30" y="57"/>
                    <a:pt x="23" y="57"/>
                    <a:pt x="16" y="53"/>
                  </a:cubicBezTo>
                  <a:cubicBezTo>
                    <a:pt x="11" y="46"/>
                    <a:pt x="6" y="41"/>
                    <a:pt x="1" y="34"/>
                  </a:cubicBezTo>
                  <a:cubicBezTo>
                    <a:pt x="0" y="27"/>
                    <a:pt x="0" y="20"/>
                    <a:pt x="3" y="13"/>
                  </a:cubicBez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6" name="Freeform 20"/>
            <p:cNvSpPr>
              <a:spLocks noChangeAspect="1"/>
            </p:cNvSpPr>
            <p:nvPr/>
          </p:nvSpPr>
          <p:spPr bwMode="ltGray">
            <a:xfrm>
              <a:off x="3094" y="1352"/>
              <a:ext cx="1516" cy="1291"/>
            </a:xfrm>
            <a:custGeom>
              <a:avLst/>
              <a:gdLst>
                <a:gd name="T0" fmla="*/ 1254 w 1520"/>
                <a:gd name="T1" fmla="*/ 328 h 1402"/>
                <a:gd name="T2" fmla="*/ 1204 w 1520"/>
                <a:gd name="T3" fmla="*/ 272 h 1402"/>
                <a:gd name="T4" fmla="*/ 1228 w 1520"/>
                <a:gd name="T5" fmla="*/ 174 h 1402"/>
                <a:gd name="T6" fmla="*/ 1272 w 1520"/>
                <a:gd name="T7" fmla="*/ 108 h 1402"/>
                <a:gd name="T8" fmla="*/ 1308 w 1520"/>
                <a:gd name="T9" fmla="*/ 56 h 1402"/>
                <a:gd name="T10" fmla="*/ 1350 w 1520"/>
                <a:gd name="T11" fmla="*/ 92 h 1402"/>
                <a:gd name="T12" fmla="*/ 1394 w 1520"/>
                <a:gd name="T13" fmla="*/ 48 h 1402"/>
                <a:gd name="T14" fmla="*/ 1344 w 1520"/>
                <a:gd name="T15" fmla="*/ 30 h 1402"/>
                <a:gd name="T16" fmla="*/ 1418 w 1520"/>
                <a:gd name="T17" fmla="*/ 104 h 1402"/>
                <a:gd name="T18" fmla="*/ 1490 w 1520"/>
                <a:gd name="T19" fmla="*/ 246 h 1402"/>
                <a:gd name="T20" fmla="*/ 1510 w 1520"/>
                <a:gd name="T21" fmla="*/ 392 h 1402"/>
                <a:gd name="T22" fmla="*/ 1451 w 1520"/>
                <a:gd name="T23" fmla="*/ 555 h 1402"/>
                <a:gd name="T24" fmla="*/ 1400 w 1520"/>
                <a:gd name="T25" fmla="*/ 684 h 1402"/>
                <a:gd name="T26" fmla="*/ 1352 w 1520"/>
                <a:gd name="T27" fmla="*/ 891 h 1402"/>
                <a:gd name="T28" fmla="*/ 1334 w 1520"/>
                <a:gd name="T29" fmla="*/ 1038 h 1402"/>
                <a:gd name="T30" fmla="*/ 1265 w 1520"/>
                <a:gd name="T31" fmla="*/ 1050 h 1402"/>
                <a:gd name="T32" fmla="*/ 1235 w 1520"/>
                <a:gd name="T33" fmla="*/ 1056 h 1402"/>
                <a:gd name="T34" fmla="*/ 1139 w 1520"/>
                <a:gd name="T35" fmla="*/ 1173 h 1402"/>
                <a:gd name="T36" fmla="*/ 1085 w 1520"/>
                <a:gd name="T37" fmla="*/ 1104 h 1402"/>
                <a:gd name="T38" fmla="*/ 998 w 1520"/>
                <a:gd name="T39" fmla="*/ 1200 h 1402"/>
                <a:gd name="T40" fmla="*/ 914 w 1520"/>
                <a:gd name="T41" fmla="*/ 1194 h 1402"/>
                <a:gd name="T42" fmla="*/ 848 w 1520"/>
                <a:gd name="T43" fmla="*/ 1188 h 1402"/>
                <a:gd name="T44" fmla="*/ 809 w 1520"/>
                <a:gd name="T45" fmla="*/ 1149 h 1402"/>
                <a:gd name="T46" fmla="*/ 791 w 1520"/>
                <a:gd name="T47" fmla="*/ 1278 h 1402"/>
                <a:gd name="T48" fmla="*/ 690 w 1520"/>
                <a:gd name="T49" fmla="*/ 1402 h 1402"/>
                <a:gd name="T50" fmla="*/ 596 w 1520"/>
                <a:gd name="T51" fmla="*/ 1317 h 1402"/>
                <a:gd name="T52" fmla="*/ 626 w 1520"/>
                <a:gd name="T53" fmla="*/ 1236 h 1402"/>
                <a:gd name="T54" fmla="*/ 586 w 1520"/>
                <a:gd name="T55" fmla="*/ 1200 h 1402"/>
                <a:gd name="T56" fmla="*/ 468 w 1520"/>
                <a:gd name="T57" fmla="*/ 1200 h 1402"/>
                <a:gd name="T58" fmla="*/ 462 w 1520"/>
                <a:gd name="T59" fmla="*/ 1216 h 1402"/>
                <a:gd name="T60" fmla="*/ 346 w 1520"/>
                <a:gd name="T61" fmla="*/ 1238 h 1402"/>
                <a:gd name="T62" fmla="*/ 282 w 1520"/>
                <a:gd name="T63" fmla="*/ 1248 h 1402"/>
                <a:gd name="T64" fmla="*/ 224 w 1520"/>
                <a:gd name="T65" fmla="*/ 1252 h 1402"/>
                <a:gd name="T66" fmla="*/ 214 w 1520"/>
                <a:gd name="T67" fmla="*/ 1320 h 1402"/>
                <a:gd name="T68" fmla="*/ 140 w 1520"/>
                <a:gd name="T69" fmla="*/ 1300 h 1402"/>
                <a:gd name="T70" fmla="*/ 40 w 1520"/>
                <a:gd name="T71" fmla="*/ 1294 h 1402"/>
                <a:gd name="T72" fmla="*/ 4 w 1520"/>
                <a:gd name="T73" fmla="*/ 1242 h 1402"/>
                <a:gd name="T74" fmla="*/ 90 w 1520"/>
                <a:gd name="T75" fmla="*/ 1188 h 1402"/>
                <a:gd name="T76" fmla="*/ 230 w 1520"/>
                <a:gd name="T77" fmla="*/ 1084 h 1402"/>
                <a:gd name="T78" fmla="*/ 322 w 1520"/>
                <a:gd name="T79" fmla="*/ 1024 h 1402"/>
                <a:gd name="T80" fmla="*/ 390 w 1520"/>
                <a:gd name="T81" fmla="*/ 1038 h 1402"/>
                <a:gd name="T82" fmla="*/ 508 w 1520"/>
                <a:gd name="T83" fmla="*/ 1024 h 1402"/>
                <a:gd name="T84" fmla="*/ 644 w 1520"/>
                <a:gd name="T85" fmla="*/ 1035 h 1402"/>
                <a:gd name="T86" fmla="*/ 728 w 1520"/>
                <a:gd name="T87" fmla="*/ 1017 h 1402"/>
                <a:gd name="T88" fmla="*/ 770 w 1520"/>
                <a:gd name="T89" fmla="*/ 888 h 1402"/>
                <a:gd name="T90" fmla="*/ 857 w 1520"/>
                <a:gd name="T91" fmla="*/ 723 h 1402"/>
                <a:gd name="T92" fmla="*/ 857 w 1520"/>
                <a:gd name="T93" fmla="*/ 753 h 1402"/>
                <a:gd name="T94" fmla="*/ 899 w 1520"/>
                <a:gd name="T95" fmla="*/ 822 h 1402"/>
                <a:gd name="T96" fmla="*/ 1070 w 1520"/>
                <a:gd name="T97" fmla="*/ 705 h 1402"/>
                <a:gd name="T98" fmla="*/ 1166 w 1520"/>
                <a:gd name="T99" fmla="*/ 609 h 1402"/>
                <a:gd name="T100" fmla="*/ 1223 w 1520"/>
                <a:gd name="T101" fmla="*/ 465 h 140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520"/>
                <a:gd name="T154" fmla="*/ 0 h 1402"/>
                <a:gd name="T155" fmla="*/ 1520 w 1520"/>
                <a:gd name="T156" fmla="*/ 1402 h 140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520" h="1402">
                  <a:moveTo>
                    <a:pt x="1232" y="435"/>
                  </a:moveTo>
                  <a:lnTo>
                    <a:pt x="1232" y="400"/>
                  </a:lnTo>
                  <a:lnTo>
                    <a:pt x="1244" y="384"/>
                  </a:lnTo>
                  <a:lnTo>
                    <a:pt x="1250" y="362"/>
                  </a:lnTo>
                  <a:lnTo>
                    <a:pt x="1254" y="328"/>
                  </a:lnTo>
                  <a:lnTo>
                    <a:pt x="1248" y="310"/>
                  </a:lnTo>
                  <a:lnTo>
                    <a:pt x="1240" y="284"/>
                  </a:lnTo>
                  <a:lnTo>
                    <a:pt x="1216" y="304"/>
                  </a:lnTo>
                  <a:lnTo>
                    <a:pt x="1206" y="288"/>
                  </a:lnTo>
                  <a:lnTo>
                    <a:pt x="1204" y="272"/>
                  </a:lnTo>
                  <a:lnTo>
                    <a:pt x="1228" y="268"/>
                  </a:lnTo>
                  <a:lnTo>
                    <a:pt x="1240" y="250"/>
                  </a:lnTo>
                  <a:lnTo>
                    <a:pt x="1244" y="222"/>
                  </a:lnTo>
                  <a:lnTo>
                    <a:pt x="1238" y="192"/>
                  </a:lnTo>
                  <a:lnTo>
                    <a:pt x="1228" y="174"/>
                  </a:lnTo>
                  <a:lnTo>
                    <a:pt x="1232" y="160"/>
                  </a:lnTo>
                  <a:lnTo>
                    <a:pt x="1238" y="144"/>
                  </a:lnTo>
                  <a:lnTo>
                    <a:pt x="1262" y="142"/>
                  </a:lnTo>
                  <a:lnTo>
                    <a:pt x="1274" y="128"/>
                  </a:lnTo>
                  <a:lnTo>
                    <a:pt x="1272" y="108"/>
                  </a:lnTo>
                  <a:lnTo>
                    <a:pt x="1280" y="92"/>
                  </a:lnTo>
                  <a:lnTo>
                    <a:pt x="1272" y="82"/>
                  </a:lnTo>
                  <a:lnTo>
                    <a:pt x="1278" y="66"/>
                  </a:lnTo>
                  <a:lnTo>
                    <a:pt x="1286" y="54"/>
                  </a:lnTo>
                  <a:lnTo>
                    <a:pt x="1308" y="56"/>
                  </a:lnTo>
                  <a:lnTo>
                    <a:pt x="1320" y="74"/>
                  </a:lnTo>
                  <a:lnTo>
                    <a:pt x="1322" y="100"/>
                  </a:lnTo>
                  <a:lnTo>
                    <a:pt x="1336" y="124"/>
                  </a:lnTo>
                  <a:lnTo>
                    <a:pt x="1342" y="112"/>
                  </a:lnTo>
                  <a:lnTo>
                    <a:pt x="1350" y="92"/>
                  </a:lnTo>
                  <a:lnTo>
                    <a:pt x="1368" y="102"/>
                  </a:lnTo>
                  <a:lnTo>
                    <a:pt x="1384" y="116"/>
                  </a:lnTo>
                  <a:lnTo>
                    <a:pt x="1396" y="96"/>
                  </a:lnTo>
                  <a:lnTo>
                    <a:pt x="1400" y="70"/>
                  </a:lnTo>
                  <a:lnTo>
                    <a:pt x="1394" y="48"/>
                  </a:lnTo>
                  <a:lnTo>
                    <a:pt x="1378" y="64"/>
                  </a:lnTo>
                  <a:lnTo>
                    <a:pt x="1354" y="74"/>
                  </a:lnTo>
                  <a:lnTo>
                    <a:pt x="1334" y="74"/>
                  </a:lnTo>
                  <a:lnTo>
                    <a:pt x="1332" y="56"/>
                  </a:lnTo>
                  <a:lnTo>
                    <a:pt x="1344" y="30"/>
                  </a:lnTo>
                  <a:lnTo>
                    <a:pt x="1350" y="0"/>
                  </a:lnTo>
                  <a:lnTo>
                    <a:pt x="1382" y="14"/>
                  </a:lnTo>
                  <a:lnTo>
                    <a:pt x="1404" y="28"/>
                  </a:lnTo>
                  <a:lnTo>
                    <a:pt x="1420" y="26"/>
                  </a:lnTo>
                  <a:lnTo>
                    <a:pt x="1418" y="104"/>
                  </a:lnTo>
                  <a:lnTo>
                    <a:pt x="1424" y="136"/>
                  </a:lnTo>
                  <a:lnTo>
                    <a:pt x="1438" y="162"/>
                  </a:lnTo>
                  <a:lnTo>
                    <a:pt x="1466" y="182"/>
                  </a:lnTo>
                  <a:lnTo>
                    <a:pt x="1488" y="214"/>
                  </a:lnTo>
                  <a:lnTo>
                    <a:pt x="1490" y="246"/>
                  </a:lnTo>
                  <a:lnTo>
                    <a:pt x="1508" y="270"/>
                  </a:lnTo>
                  <a:lnTo>
                    <a:pt x="1510" y="310"/>
                  </a:lnTo>
                  <a:lnTo>
                    <a:pt x="1520" y="334"/>
                  </a:lnTo>
                  <a:lnTo>
                    <a:pt x="1512" y="366"/>
                  </a:lnTo>
                  <a:lnTo>
                    <a:pt x="1510" y="392"/>
                  </a:lnTo>
                  <a:lnTo>
                    <a:pt x="1502" y="416"/>
                  </a:lnTo>
                  <a:lnTo>
                    <a:pt x="1478" y="432"/>
                  </a:lnTo>
                  <a:lnTo>
                    <a:pt x="1464" y="462"/>
                  </a:lnTo>
                  <a:lnTo>
                    <a:pt x="1457" y="504"/>
                  </a:lnTo>
                  <a:lnTo>
                    <a:pt x="1451" y="555"/>
                  </a:lnTo>
                  <a:lnTo>
                    <a:pt x="1436" y="537"/>
                  </a:lnTo>
                  <a:lnTo>
                    <a:pt x="1406" y="552"/>
                  </a:lnTo>
                  <a:lnTo>
                    <a:pt x="1388" y="582"/>
                  </a:lnTo>
                  <a:lnTo>
                    <a:pt x="1385" y="612"/>
                  </a:lnTo>
                  <a:lnTo>
                    <a:pt x="1400" y="684"/>
                  </a:lnTo>
                  <a:lnTo>
                    <a:pt x="1406" y="738"/>
                  </a:lnTo>
                  <a:lnTo>
                    <a:pt x="1397" y="783"/>
                  </a:lnTo>
                  <a:lnTo>
                    <a:pt x="1370" y="798"/>
                  </a:lnTo>
                  <a:lnTo>
                    <a:pt x="1364" y="843"/>
                  </a:lnTo>
                  <a:lnTo>
                    <a:pt x="1352" y="891"/>
                  </a:lnTo>
                  <a:lnTo>
                    <a:pt x="1352" y="912"/>
                  </a:lnTo>
                  <a:lnTo>
                    <a:pt x="1361" y="936"/>
                  </a:lnTo>
                  <a:cubicBezTo>
                    <a:pt x="1377" y="974"/>
                    <a:pt x="1375" y="963"/>
                    <a:pt x="1391" y="987"/>
                  </a:cubicBezTo>
                  <a:cubicBezTo>
                    <a:pt x="1386" y="1006"/>
                    <a:pt x="1378" y="1002"/>
                    <a:pt x="1358" y="1005"/>
                  </a:cubicBezTo>
                  <a:cubicBezTo>
                    <a:pt x="1351" y="1016"/>
                    <a:pt x="1345" y="1031"/>
                    <a:pt x="1334" y="1038"/>
                  </a:cubicBezTo>
                  <a:cubicBezTo>
                    <a:pt x="1316" y="1065"/>
                    <a:pt x="1337" y="1092"/>
                    <a:pt x="1301" y="1104"/>
                  </a:cubicBezTo>
                  <a:cubicBezTo>
                    <a:pt x="1293" y="1112"/>
                    <a:pt x="1274" y="1125"/>
                    <a:pt x="1274" y="1125"/>
                  </a:cubicBezTo>
                  <a:cubicBezTo>
                    <a:pt x="1265" y="1138"/>
                    <a:pt x="1271" y="1144"/>
                    <a:pt x="1253" y="1140"/>
                  </a:cubicBezTo>
                  <a:cubicBezTo>
                    <a:pt x="1235" y="1128"/>
                    <a:pt x="1244" y="1108"/>
                    <a:pt x="1250" y="1089"/>
                  </a:cubicBezTo>
                  <a:cubicBezTo>
                    <a:pt x="1244" y="1072"/>
                    <a:pt x="1248" y="1056"/>
                    <a:pt x="1265" y="1050"/>
                  </a:cubicBezTo>
                  <a:cubicBezTo>
                    <a:pt x="1279" y="1029"/>
                    <a:pt x="1271" y="1036"/>
                    <a:pt x="1286" y="1026"/>
                  </a:cubicBezTo>
                  <a:cubicBezTo>
                    <a:pt x="1283" y="1004"/>
                    <a:pt x="1282" y="1001"/>
                    <a:pt x="1265" y="990"/>
                  </a:cubicBezTo>
                  <a:cubicBezTo>
                    <a:pt x="1257" y="992"/>
                    <a:pt x="1246" y="990"/>
                    <a:pt x="1244" y="1002"/>
                  </a:cubicBezTo>
                  <a:cubicBezTo>
                    <a:pt x="1243" y="1012"/>
                    <a:pt x="1253" y="1032"/>
                    <a:pt x="1253" y="1032"/>
                  </a:cubicBezTo>
                  <a:cubicBezTo>
                    <a:pt x="1249" y="1043"/>
                    <a:pt x="1242" y="1046"/>
                    <a:pt x="1235" y="1056"/>
                  </a:cubicBezTo>
                  <a:cubicBezTo>
                    <a:pt x="1234" y="1066"/>
                    <a:pt x="1234" y="1076"/>
                    <a:pt x="1232" y="1086"/>
                  </a:cubicBezTo>
                  <a:cubicBezTo>
                    <a:pt x="1231" y="1092"/>
                    <a:pt x="1226" y="1104"/>
                    <a:pt x="1226" y="1104"/>
                  </a:cubicBezTo>
                  <a:cubicBezTo>
                    <a:pt x="1209" y="1098"/>
                    <a:pt x="1218" y="1080"/>
                    <a:pt x="1199" y="1074"/>
                  </a:cubicBezTo>
                  <a:cubicBezTo>
                    <a:pt x="1185" y="1076"/>
                    <a:pt x="1173" y="1079"/>
                    <a:pt x="1160" y="1083"/>
                  </a:cubicBezTo>
                  <a:cubicBezTo>
                    <a:pt x="1149" y="1115"/>
                    <a:pt x="1179" y="1160"/>
                    <a:pt x="1139" y="1173"/>
                  </a:cubicBezTo>
                  <a:cubicBezTo>
                    <a:pt x="1130" y="1182"/>
                    <a:pt x="1128" y="1190"/>
                    <a:pt x="1121" y="1200"/>
                  </a:cubicBezTo>
                  <a:cubicBezTo>
                    <a:pt x="1107" y="1196"/>
                    <a:pt x="1102" y="1193"/>
                    <a:pt x="1097" y="1179"/>
                  </a:cubicBezTo>
                  <a:cubicBezTo>
                    <a:pt x="1100" y="1167"/>
                    <a:pt x="1104" y="1161"/>
                    <a:pt x="1100" y="1149"/>
                  </a:cubicBezTo>
                  <a:cubicBezTo>
                    <a:pt x="1103" y="1133"/>
                    <a:pt x="1113" y="1122"/>
                    <a:pt x="1118" y="1107"/>
                  </a:cubicBezTo>
                  <a:cubicBezTo>
                    <a:pt x="1095" y="1099"/>
                    <a:pt x="1106" y="1100"/>
                    <a:pt x="1085" y="1104"/>
                  </a:cubicBezTo>
                  <a:cubicBezTo>
                    <a:pt x="1068" y="1115"/>
                    <a:pt x="1082" y="1104"/>
                    <a:pt x="1073" y="1119"/>
                  </a:cubicBezTo>
                  <a:cubicBezTo>
                    <a:pt x="1069" y="1125"/>
                    <a:pt x="1061" y="1137"/>
                    <a:pt x="1061" y="1137"/>
                  </a:cubicBezTo>
                  <a:cubicBezTo>
                    <a:pt x="1058" y="1158"/>
                    <a:pt x="1057" y="1162"/>
                    <a:pt x="1043" y="1176"/>
                  </a:cubicBezTo>
                  <a:cubicBezTo>
                    <a:pt x="1039" y="1191"/>
                    <a:pt x="1041" y="1204"/>
                    <a:pt x="1025" y="1209"/>
                  </a:cubicBezTo>
                  <a:cubicBezTo>
                    <a:pt x="984" y="1202"/>
                    <a:pt x="1023" y="1211"/>
                    <a:pt x="998" y="1200"/>
                  </a:cubicBezTo>
                  <a:cubicBezTo>
                    <a:pt x="992" y="1197"/>
                    <a:pt x="980" y="1194"/>
                    <a:pt x="980" y="1194"/>
                  </a:cubicBezTo>
                  <a:cubicBezTo>
                    <a:pt x="967" y="1198"/>
                    <a:pt x="962" y="1201"/>
                    <a:pt x="944" y="1194"/>
                  </a:cubicBezTo>
                  <a:cubicBezTo>
                    <a:pt x="941" y="1193"/>
                    <a:pt x="943" y="1187"/>
                    <a:pt x="941" y="1185"/>
                  </a:cubicBezTo>
                  <a:cubicBezTo>
                    <a:pt x="939" y="1183"/>
                    <a:pt x="935" y="1183"/>
                    <a:pt x="932" y="1182"/>
                  </a:cubicBezTo>
                  <a:cubicBezTo>
                    <a:pt x="926" y="1186"/>
                    <a:pt x="920" y="1190"/>
                    <a:pt x="914" y="1194"/>
                  </a:cubicBezTo>
                  <a:cubicBezTo>
                    <a:pt x="911" y="1196"/>
                    <a:pt x="905" y="1200"/>
                    <a:pt x="905" y="1200"/>
                  </a:cubicBezTo>
                  <a:cubicBezTo>
                    <a:pt x="890" y="1190"/>
                    <a:pt x="884" y="1201"/>
                    <a:pt x="869" y="1206"/>
                  </a:cubicBezTo>
                  <a:cubicBezTo>
                    <a:pt x="863" y="1188"/>
                    <a:pt x="870" y="1182"/>
                    <a:pt x="887" y="1176"/>
                  </a:cubicBezTo>
                  <a:cubicBezTo>
                    <a:pt x="857" y="1156"/>
                    <a:pt x="876" y="1175"/>
                    <a:pt x="866" y="1182"/>
                  </a:cubicBezTo>
                  <a:cubicBezTo>
                    <a:pt x="861" y="1186"/>
                    <a:pt x="848" y="1188"/>
                    <a:pt x="848" y="1188"/>
                  </a:cubicBezTo>
                  <a:cubicBezTo>
                    <a:pt x="844" y="1176"/>
                    <a:pt x="839" y="1162"/>
                    <a:pt x="827" y="1158"/>
                  </a:cubicBezTo>
                  <a:cubicBezTo>
                    <a:pt x="828" y="1153"/>
                    <a:pt x="829" y="1137"/>
                    <a:pt x="833" y="1131"/>
                  </a:cubicBezTo>
                  <a:cubicBezTo>
                    <a:pt x="837" y="1125"/>
                    <a:pt x="845" y="1113"/>
                    <a:pt x="845" y="1113"/>
                  </a:cubicBezTo>
                  <a:cubicBezTo>
                    <a:pt x="837" y="1102"/>
                    <a:pt x="834" y="1100"/>
                    <a:pt x="821" y="1104"/>
                  </a:cubicBezTo>
                  <a:cubicBezTo>
                    <a:pt x="817" y="1121"/>
                    <a:pt x="829" y="1142"/>
                    <a:pt x="809" y="1149"/>
                  </a:cubicBezTo>
                  <a:cubicBezTo>
                    <a:pt x="798" y="1165"/>
                    <a:pt x="800" y="1182"/>
                    <a:pt x="794" y="1200"/>
                  </a:cubicBezTo>
                  <a:cubicBezTo>
                    <a:pt x="800" y="1229"/>
                    <a:pt x="820" y="1215"/>
                    <a:pt x="842" y="1230"/>
                  </a:cubicBezTo>
                  <a:cubicBezTo>
                    <a:pt x="845" y="1238"/>
                    <a:pt x="847" y="1257"/>
                    <a:pt x="839" y="1263"/>
                  </a:cubicBezTo>
                  <a:cubicBezTo>
                    <a:pt x="834" y="1267"/>
                    <a:pt x="816" y="1270"/>
                    <a:pt x="809" y="1272"/>
                  </a:cubicBezTo>
                  <a:cubicBezTo>
                    <a:pt x="803" y="1274"/>
                    <a:pt x="791" y="1278"/>
                    <a:pt x="791" y="1278"/>
                  </a:cubicBezTo>
                  <a:cubicBezTo>
                    <a:pt x="777" y="1273"/>
                    <a:pt x="774" y="1280"/>
                    <a:pt x="764" y="1290"/>
                  </a:cubicBezTo>
                  <a:cubicBezTo>
                    <a:pt x="757" y="1310"/>
                    <a:pt x="753" y="1324"/>
                    <a:pt x="731" y="1329"/>
                  </a:cubicBezTo>
                  <a:cubicBezTo>
                    <a:pt x="727" y="1335"/>
                    <a:pt x="728" y="1351"/>
                    <a:pt x="726" y="1358"/>
                  </a:cubicBezTo>
                  <a:lnTo>
                    <a:pt x="718" y="1374"/>
                  </a:lnTo>
                  <a:lnTo>
                    <a:pt x="690" y="1402"/>
                  </a:lnTo>
                  <a:lnTo>
                    <a:pt x="646" y="1390"/>
                  </a:lnTo>
                  <a:lnTo>
                    <a:pt x="630" y="1374"/>
                  </a:lnTo>
                  <a:lnTo>
                    <a:pt x="623" y="1359"/>
                  </a:lnTo>
                  <a:cubicBezTo>
                    <a:pt x="614" y="1349"/>
                    <a:pt x="597" y="1338"/>
                    <a:pt x="593" y="1326"/>
                  </a:cubicBezTo>
                  <a:cubicBezTo>
                    <a:pt x="594" y="1323"/>
                    <a:pt x="596" y="1320"/>
                    <a:pt x="596" y="1317"/>
                  </a:cubicBezTo>
                  <a:cubicBezTo>
                    <a:pt x="596" y="1314"/>
                    <a:pt x="593" y="1311"/>
                    <a:pt x="593" y="1308"/>
                  </a:cubicBezTo>
                  <a:cubicBezTo>
                    <a:pt x="594" y="1302"/>
                    <a:pt x="597" y="1296"/>
                    <a:pt x="599" y="1290"/>
                  </a:cubicBezTo>
                  <a:cubicBezTo>
                    <a:pt x="600" y="1287"/>
                    <a:pt x="602" y="1281"/>
                    <a:pt x="602" y="1281"/>
                  </a:cubicBezTo>
                  <a:cubicBezTo>
                    <a:pt x="600" y="1273"/>
                    <a:pt x="592" y="1257"/>
                    <a:pt x="599" y="1248"/>
                  </a:cubicBezTo>
                  <a:cubicBezTo>
                    <a:pt x="605" y="1240"/>
                    <a:pt x="626" y="1236"/>
                    <a:pt x="626" y="1236"/>
                  </a:cubicBezTo>
                  <a:cubicBezTo>
                    <a:pt x="637" y="1220"/>
                    <a:pt x="640" y="1206"/>
                    <a:pt x="659" y="1200"/>
                  </a:cubicBezTo>
                  <a:cubicBezTo>
                    <a:pt x="664" y="1186"/>
                    <a:pt x="656" y="1184"/>
                    <a:pt x="644" y="1188"/>
                  </a:cubicBezTo>
                  <a:cubicBezTo>
                    <a:pt x="642" y="1191"/>
                    <a:pt x="642" y="1197"/>
                    <a:pt x="638" y="1197"/>
                  </a:cubicBezTo>
                  <a:cubicBezTo>
                    <a:pt x="626" y="1198"/>
                    <a:pt x="602" y="1191"/>
                    <a:pt x="602" y="1191"/>
                  </a:cubicBezTo>
                  <a:lnTo>
                    <a:pt x="586" y="1200"/>
                  </a:lnTo>
                  <a:lnTo>
                    <a:pt x="554" y="1182"/>
                  </a:lnTo>
                  <a:lnTo>
                    <a:pt x="524" y="1173"/>
                  </a:lnTo>
                  <a:lnTo>
                    <a:pt x="496" y="1178"/>
                  </a:lnTo>
                  <a:lnTo>
                    <a:pt x="476" y="1190"/>
                  </a:lnTo>
                  <a:lnTo>
                    <a:pt x="468" y="1200"/>
                  </a:lnTo>
                  <a:lnTo>
                    <a:pt x="488" y="1206"/>
                  </a:lnTo>
                  <a:lnTo>
                    <a:pt x="496" y="1222"/>
                  </a:lnTo>
                  <a:lnTo>
                    <a:pt x="482" y="1230"/>
                  </a:lnTo>
                  <a:lnTo>
                    <a:pt x="466" y="1228"/>
                  </a:lnTo>
                  <a:lnTo>
                    <a:pt x="462" y="1216"/>
                  </a:lnTo>
                  <a:lnTo>
                    <a:pt x="442" y="1220"/>
                  </a:lnTo>
                  <a:lnTo>
                    <a:pt x="408" y="1218"/>
                  </a:lnTo>
                  <a:lnTo>
                    <a:pt x="382" y="1222"/>
                  </a:lnTo>
                  <a:lnTo>
                    <a:pt x="366" y="1240"/>
                  </a:lnTo>
                  <a:lnTo>
                    <a:pt x="346" y="1238"/>
                  </a:lnTo>
                  <a:lnTo>
                    <a:pt x="336" y="1256"/>
                  </a:lnTo>
                  <a:lnTo>
                    <a:pt x="318" y="1274"/>
                  </a:lnTo>
                  <a:lnTo>
                    <a:pt x="306" y="1266"/>
                  </a:lnTo>
                  <a:lnTo>
                    <a:pt x="294" y="1256"/>
                  </a:lnTo>
                  <a:lnTo>
                    <a:pt x="282" y="1248"/>
                  </a:lnTo>
                  <a:lnTo>
                    <a:pt x="264" y="1258"/>
                  </a:lnTo>
                  <a:lnTo>
                    <a:pt x="248" y="1272"/>
                  </a:lnTo>
                  <a:lnTo>
                    <a:pt x="228" y="1288"/>
                  </a:lnTo>
                  <a:lnTo>
                    <a:pt x="222" y="1270"/>
                  </a:lnTo>
                  <a:lnTo>
                    <a:pt x="224" y="1252"/>
                  </a:lnTo>
                  <a:lnTo>
                    <a:pt x="206" y="1252"/>
                  </a:lnTo>
                  <a:lnTo>
                    <a:pt x="198" y="1270"/>
                  </a:lnTo>
                  <a:lnTo>
                    <a:pt x="188" y="1286"/>
                  </a:lnTo>
                  <a:lnTo>
                    <a:pt x="190" y="1316"/>
                  </a:lnTo>
                  <a:lnTo>
                    <a:pt x="214" y="1320"/>
                  </a:lnTo>
                  <a:lnTo>
                    <a:pt x="210" y="1332"/>
                  </a:lnTo>
                  <a:lnTo>
                    <a:pt x="182" y="1332"/>
                  </a:lnTo>
                  <a:lnTo>
                    <a:pt x="172" y="1316"/>
                  </a:lnTo>
                  <a:lnTo>
                    <a:pt x="152" y="1310"/>
                  </a:lnTo>
                  <a:lnTo>
                    <a:pt x="140" y="1300"/>
                  </a:lnTo>
                  <a:lnTo>
                    <a:pt x="124" y="1288"/>
                  </a:lnTo>
                  <a:lnTo>
                    <a:pt x="96" y="1298"/>
                  </a:lnTo>
                  <a:lnTo>
                    <a:pt x="76" y="1280"/>
                  </a:lnTo>
                  <a:lnTo>
                    <a:pt x="60" y="1302"/>
                  </a:lnTo>
                  <a:lnTo>
                    <a:pt x="40" y="1294"/>
                  </a:lnTo>
                  <a:lnTo>
                    <a:pt x="30" y="1276"/>
                  </a:lnTo>
                  <a:lnTo>
                    <a:pt x="16" y="1284"/>
                  </a:lnTo>
                  <a:lnTo>
                    <a:pt x="0" y="1270"/>
                  </a:lnTo>
                  <a:lnTo>
                    <a:pt x="6" y="1260"/>
                  </a:lnTo>
                  <a:lnTo>
                    <a:pt x="4" y="1242"/>
                  </a:lnTo>
                  <a:lnTo>
                    <a:pt x="0" y="1228"/>
                  </a:lnTo>
                  <a:lnTo>
                    <a:pt x="8" y="1214"/>
                  </a:lnTo>
                  <a:lnTo>
                    <a:pt x="50" y="1216"/>
                  </a:lnTo>
                  <a:lnTo>
                    <a:pt x="74" y="1212"/>
                  </a:lnTo>
                  <a:lnTo>
                    <a:pt x="90" y="1188"/>
                  </a:lnTo>
                  <a:lnTo>
                    <a:pt x="118" y="1180"/>
                  </a:lnTo>
                  <a:lnTo>
                    <a:pt x="136" y="1168"/>
                  </a:lnTo>
                  <a:lnTo>
                    <a:pt x="166" y="1138"/>
                  </a:lnTo>
                  <a:lnTo>
                    <a:pt x="198" y="1108"/>
                  </a:lnTo>
                  <a:lnTo>
                    <a:pt x="230" y="1084"/>
                  </a:lnTo>
                  <a:lnTo>
                    <a:pt x="250" y="1074"/>
                  </a:lnTo>
                  <a:lnTo>
                    <a:pt x="254" y="1056"/>
                  </a:lnTo>
                  <a:lnTo>
                    <a:pt x="264" y="1046"/>
                  </a:lnTo>
                  <a:lnTo>
                    <a:pt x="288" y="1034"/>
                  </a:lnTo>
                  <a:lnTo>
                    <a:pt x="322" y="1024"/>
                  </a:lnTo>
                  <a:lnTo>
                    <a:pt x="338" y="1026"/>
                  </a:lnTo>
                  <a:lnTo>
                    <a:pt x="352" y="1028"/>
                  </a:lnTo>
                  <a:lnTo>
                    <a:pt x="354" y="1048"/>
                  </a:lnTo>
                  <a:lnTo>
                    <a:pt x="370" y="1042"/>
                  </a:lnTo>
                  <a:lnTo>
                    <a:pt x="390" y="1038"/>
                  </a:lnTo>
                  <a:lnTo>
                    <a:pt x="404" y="1042"/>
                  </a:lnTo>
                  <a:lnTo>
                    <a:pt x="418" y="1044"/>
                  </a:lnTo>
                  <a:lnTo>
                    <a:pt x="444" y="1042"/>
                  </a:lnTo>
                  <a:lnTo>
                    <a:pt x="478" y="1038"/>
                  </a:lnTo>
                  <a:cubicBezTo>
                    <a:pt x="489" y="1035"/>
                    <a:pt x="499" y="1028"/>
                    <a:pt x="508" y="1024"/>
                  </a:cubicBezTo>
                  <a:cubicBezTo>
                    <a:pt x="517" y="1020"/>
                    <a:pt x="522" y="1014"/>
                    <a:pt x="530" y="1014"/>
                  </a:cubicBezTo>
                  <a:cubicBezTo>
                    <a:pt x="531" y="1005"/>
                    <a:pt x="557" y="1023"/>
                    <a:pt x="557" y="1023"/>
                  </a:cubicBezTo>
                  <a:cubicBezTo>
                    <a:pt x="594" y="1018"/>
                    <a:pt x="580" y="1015"/>
                    <a:pt x="605" y="999"/>
                  </a:cubicBezTo>
                  <a:cubicBezTo>
                    <a:pt x="632" y="1004"/>
                    <a:pt x="628" y="1008"/>
                    <a:pt x="623" y="1032"/>
                  </a:cubicBezTo>
                  <a:cubicBezTo>
                    <a:pt x="628" y="1051"/>
                    <a:pt x="629" y="1040"/>
                    <a:pt x="644" y="1035"/>
                  </a:cubicBezTo>
                  <a:cubicBezTo>
                    <a:pt x="652" y="1047"/>
                    <a:pt x="657" y="1047"/>
                    <a:pt x="671" y="1050"/>
                  </a:cubicBezTo>
                  <a:cubicBezTo>
                    <a:pt x="677" y="1048"/>
                    <a:pt x="684" y="1048"/>
                    <a:pt x="689" y="1044"/>
                  </a:cubicBezTo>
                  <a:cubicBezTo>
                    <a:pt x="695" y="1040"/>
                    <a:pt x="707" y="1032"/>
                    <a:pt x="707" y="1032"/>
                  </a:cubicBezTo>
                  <a:cubicBezTo>
                    <a:pt x="708" y="1029"/>
                    <a:pt x="707" y="1025"/>
                    <a:pt x="710" y="1023"/>
                  </a:cubicBezTo>
                  <a:cubicBezTo>
                    <a:pt x="715" y="1019"/>
                    <a:pt x="728" y="1017"/>
                    <a:pt x="728" y="1017"/>
                  </a:cubicBezTo>
                  <a:cubicBezTo>
                    <a:pt x="724" y="1004"/>
                    <a:pt x="717" y="994"/>
                    <a:pt x="713" y="981"/>
                  </a:cubicBezTo>
                  <a:cubicBezTo>
                    <a:pt x="721" y="958"/>
                    <a:pt x="714" y="986"/>
                    <a:pt x="710" y="963"/>
                  </a:cubicBezTo>
                  <a:cubicBezTo>
                    <a:pt x="708" y="950"/>
                    <a:pt x="724" y="937"/>
                    <a:pt x="734" y="930"/>
                  </a:cubicBezTo>
                  <a:cubicBezTo>
                    <a:pt x="738" y="917"/>
                    <a:pt x="742" y="915"/>
                    <a:pt x="752" y="906"/>
                  </a:cubicBezTo>
                  <a:cubicBezTo>
                    <a:pt x="758" y="900"/>
                    <a:pt x="770" y="888"/>
                    <a:pt x="770" y="888"/>
                  </a:cubicBezTo>
                  <a:lnTo>
                    <a:pt x="818" y="828"/>
                  </a:lnTo>
                  <a:lnTo>
                    <a:pt x="824" y="807"/>
                  </a:lnTo>
                  <a:lnTo>
                    <a:pt x="818" y="777"/>
                  </a:lnTo>
                  <a:cubicBezTo>
                    <a:pt x="817" y="763"/>
                    <a:pt x="807" y="744"/>
                    <a:pt x="818" y="735"/>
                  </a:cubicBezTo>
                  <a:cubicBezTo>
                    <a:pt x="825" y="729"/>
                    <a:pt x="847" y="725"/>
                    <a:pt x="857" y="723"/>
                  </a:cubicBezTo>
                  <a:cubicBezTo>
                    <a:pt x="860" y="721"/>
                    <a:pt x="864" y="720"/>
                    <a:pt x="866" y="717"/>
                  </a:cubicBezTo>
                  <a:cubicBezTo>
                    <a:pt x="868" y="715"/>
                    <a:pt x="866" y="710"/>
                    <a:pt x="869" y="708"/>
                  </a:cubicBezTo>
                  <a:cubicBezTo>
                    <a:pt x="874" y="704"/>
                    <a:pt x="887" y="702"/>
                    <a:pt x="887" y="702"/>
                  </a:cubicBezTo>
                  <a:cubicBezTo>
                    <a:pt x="909" y="706"/>
                    <a:pt x="912" y="716"/>
                    <a:pt x="890" y="723"/>
                  </a:cubicBezTo>
                  <a:cubicBezTo>
                    <a:pt x="881" y="751"/>
                    <a:pt x="879" y="738"/>
                    <a:pt x="857" y="753"/>
                  </a:cubicBezTo>
                  <a:cubicBezTo>
                    <a:pt x="858" y="758"/>
                    <a:pt x="857" y="764"/>
                    <a:pt x="860" y="768"/>
                  </a:cubicBezTo>
                  <a:cubicBezTo>
                    <a:pt x="862" y="771"/>
                    <a:pt x="868" y="768"/>
                    <a:pt x="869" y="771"/>
                  </a:cubicBezTo>
                  <a:cubicBezTo>
                    <a:pt x="871" y="781"/>
                    <a:pt x="866" y="794"/>
                    <a:pt x="863" y="804"/>
                  </a:cubicBezTo>
                  <a:cubicBezTo>
                    <a:pt x="867" y="816"/>
                    <a:pt x="870" y="811"/>
                    <a:pt x="878" y="819"/>
                  </a:cubicBezTo>
                  <a:lnTo>
                    <a:pt x="899" y="822"/>
                  </a:lnTo>
                  <a:lnTo>
                    <a:pt x="926" y="804"/>
                  </a:lnTo>
                  <a:lnTo>
                    <a:pt x="986" y="765"/>
                  </a:lnTo>
                  <a:cubicBezTo>
                    <a:pt x="1007" y="747"/>
                    <a:pt x="996" y="750"/>
                    <a:pt x="1016" y="750"/>
                  </a:cubicBezTo>
                  <a:lnTo>
                    <a:pt x="1037" y="744"/>
                  </a:lnTo>
                  <a:lnTo>
                    <a:pt x="1070" y="705"/>
                  </a:lnTo>
                  <a:lnTo>
                    <a:pt x="1091" y="678"/>
                  </a:lnTo>
                  <a:lnTo>
                    <a:pt x="1106" y="648"/>
                  </a:lnTo>
                  <a:lnTo>
                    <a:pt x="1121" y="630"/>
                  </a:lnTo>
                  <a:lnTo>
                    <a:pt x="1142" y="618"/>
                  </a:lnTo>
                  <a:lnTo>
                    <a:pt x="1166" y="609"/>
                  </a:lnTo>
                  <a:lnTo>
                    <a:pt x="1184" y="585"/>
                  </a:lnTo>
                  <a:lnTo>
                    <a:pt x="1184" y="546"/>
                  </a:lnTo>
                  <a:lnTo>
                    <a:pt x="1193" y="522"/>
                  </a:lnTo>
                  <a:lnTo>
                    <a:pt x="1202" y="492"/>
                  </a:lnTo>
                  <a:lnTo>
                    <a:pt x="1223" y="465"/>
                  </a:lnTo>
                  <a:lnTo>
                    <a:pt x="1232" y="435"/>
                  </a:ln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7" name="Freeform 21"/>
            <p:cNvSpPr>
              <a:spLocks noChangeAspect="1"/>
            </p:cNvSpPr>
            <p:nvPr/>
          </p:nvSpPr>
          <p:spPr bwMode="ltGray">
            <a:xfrm>
              <a:off x="2919" y="2542"/>
              <a:ext cx="35" cy="35"/>
            </a:xfrm>
            <a:custGeom>
              <a:avLst/>
              <a:gdLst/>
              <a:ahLst/>
              <a:cxnLst>
                <a:cxn ang="0">
                  <a:pos x="10" y="32"/>
                </a:cxn>
                <a:cxn ang="0">
                  <a:pos x="1" y="20"/>
                </a:cxn>
                <a:cxn ang="0">
                  <a:pos x="9" y="0"/>
                </a:cxn>
                <a:cxn ang="0">
                  <a:pos x="31" y="20"/>
                </a:cxn>
                <a:cxn ang="0">
                  <a:pos x="21" y="38"/>
                </a:cxn>
                <a:cxn ang="0">
                  <a:pos x="10" y="32"/>
                </a:cxn>
              </a:cxnLst>
              <a:rect l="0" t="0" r="r" b="b"/>
              <a:pathLst>
                <a:path w="35" h="38">
                  <a:moveTo>
                    <a:pt x="10" y="32"/>
                  </a:moveTo>
                  <a:cubicBezTo>
                    <a:pt x="5" y="28"/>
                    <a:pt x="4" y="25"/>
                    <a:pt x="1" y="20"/>
                  </a:cubicBezTo>
                  <a:cubicBezTo>
                    <a:pt x="0" y="13"/>
                    <a:pt x="3" y="4"/>
                    <a:pt x="9" y="0"/>
                  </a:cubicBezTo>
                  <a:cubicBezTo>
                    <a:pt x="35" y="4"/>
                    <a:pt x="16" y="9"/>
                    <a:pt x="31" y="20"/>
                  </a:cubicBezTo>
                  <a:cubicBezTo>
                    <a:pt x="30" y="28"/>
                    <a:pt x="27" y="33"/>
                    <a:pt x="21" y="38"/>
                  </a:cubicBezTo>
                  <a:cubicBezTo>
                    <a:pt x="18" y="37"/>
                    <a:pt x="10" y="23"/>
                    <a:pt x="10" y="32"/>
                  </a:cubicBezTo>
                  <a:close/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ja-JP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88" name="Oval 29"/>
          <p:cNvSpPr>
            <a:spLocks noChangeArrowheads="1"/>
          </p:cNvSpPr>
          <p:nvPr/>
        </p:nvSpPr>
        <p:spPr bwMode="auto">
          <a:xfrm>
            <a:off x="8248650" y="3944938"/>
            <a:ext cx="71438" cy="7143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89" name="Oval 30"/>
          <p:cNvSpPr>
            <a:spLocks noChangeArrowheads="1"/>
          </p:cNvSpPr>
          <p:nvPr/>
        </p:nvSpPr>
        <p:spPr bwMode="auto">
          <a:xfrm>
            <a:off x="7667625" y="3946525"/>
            <a:ext cx="71438" cy="7143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90" name="Oval 31"/>
          <p:cNvSpPr>
            <a:spLocks noChangeArrowheads="1"/>
          </p:cNvSpPr>
          <p:nvPr/>
        </p:nvSpPr>
        <p:spPr bwMode="auto">
          <a:xfrm>
            <a:off x="7612063" y="3886200"/>
            <a:ext cx="71438" cy="7143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91" name="Oval 34"/>
          <p:cNvSpPr>
            <a:spLocks noChangeArrowheads="1"/>
          </p:cNvSpPr>
          <p:nvPr/>
        </p:nvSpPr>
        <p:spPr bwMode="auto">
          <a:xfrm>
            <a:off x="7754938" y="4246563"/>
            <a:ext cx="71438" cy="7143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92" name="Oval 35"/>
          <p:cNvSpPr>
            <a:spLocks noChangeArrowheads="1"/>
          </p:cNvSpPr>
          <p:nvPr/>
        </p:nvSpPr>
        <p:spPr bwMode="auto">
          <a:xfrm>
            <a:off x="6891338" y="4175125"/>
            <a:ext cx="71438" cy="7143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93" name="Oval 32"/>
          <p:cNvSpPr>
            <a:spLocks noChangeArrowheads="1"/>
          </p:cNvSpPr>
          <p:nvPr/>
        </p:nvSpPr>
        <p:spPr bwMode="auto">
          <a:xfrm>
            <a:off x="8402638" y="4175125"/>
            <a:ext cx="71438" cy="71438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94" name="Oval 34"/>
          <p:cNvSpPr>
            <a:spLocks noChangeArrowheads="1"/>
          </p:cNvSpPr>
          <p:nvPr/>
        </p:nvSpPr>
        <p:spPr bwMode="auto">
          <a:xfrm>
            <a:off x="8251825" y="4043363"/>
            <a:ext cx="112713" cy="112713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ja-JP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pic>
        <p:nvPicPr>
          <p:cNvPr id="10265" name="Picture 75" descr="ltps-img2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6630988" y="5770563"/>
            <a:ext cx="977900" cy="6540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266" name="Picture 64" descr="kai_gaiyo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19">
            <a:lum bright="6000" contrast="12000"/>
          </a:blip>
          <a:stretch>
            <a:fillRect/>
          </a:stretch>
        </p:blipFill>
        <p:spPr>
          <a:xfrm>
            <a:off x="7937500" y="5765800"/>
            <a:ext cx="1779588" cy="65881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267" name="Picture 241" descr="ltps-img3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1">
            <a:lum bright="-6000" contrast="12000"/>
          </a:blip>
          <a:stretch>
            <a:fillRect/>
          </a:stretch>
        </p:blipFill>
        <p:spPr>
          <a:xfrm>
            <a:off x="5351463" y="5765800"/>
            <a:ext cx="982662" cy="65563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8" name="Freeform 242"/>
          <p:cNvSpPr/>
          <p:nvPr>
            <p:custDataLst>
              <p:tags r:id="rId22"/>
            </p:custDataLst>
          </p:nvPr>
        </p:nvSpPr>
        <p:spPr bwMode="auto">
          <a:xfrm>
            <a:off x="8448675" y="4244975"/>
            <a:ext cx="635000" cy="641350"/>
          </a:xfrm>
          <a:custGeom>
            <a:avLst/>
            <a:gdLst>
              <a:gd name="T0" fmla="*/ 0 w 317"/>
              <a:gd name="T1" fmla="*/ 0 h 499"/>
              <a:gd name="T2" fmla="*/ 317 w 317"/>
              <a:gd name="T3" fmla="*/ 499 h 499"/>
              <a:gd name="T4" fmla="*/ 91 w 317"/>
              <a:gd name="T5" fmla="*/ 363 h 499"/>
              <a:gd name="T6" fmla="*/ 317 w 317"/>
              <a:gd name="T7" fmla="*/ 363 h 499"/>
              <a:gd name="T8" fmla="*/ 0 60000 65536"/>
              <a:gd name="T9" fmla="*/ 0 60000 65536"/>
              <a:gd name="T10" fmla="*/ 0 60000 65536"/>
              <a:gd name="T11" fmla="*/ 0 60000 65536"/>
              <a:gd name="T12" fmla="*/ 0 w 317"/>
              <a:gd name="T13" fmla="*/ 0 h 499"/>
              <a:gd name="T14" fmla="*/ 317 w 317"/>
              <a:gd name="T15" fmla="*/ 499 h 499"/>
              <a:gd name="connsiteX0" fmla="*/ 0 w 10000"/>
              <a:gd name="connsiteY0" fmla="*/ 0 h 10000"/>
              <a:gd name="connsiteX1" fmla="*/ 10000 w 10000"/>
              <a:gd name="connsiteY1" fmla="*/ 10000 h 10000"/>
              <a:gd name="connsiteX2" fmla="*/ 4372 w 10000"/>
              <a:gd name="connsiteY2" fmla="*/ 6159 h 10000"/>
              <a:gd name="connsiteX3" fmla="*/ 10000 w 10000"/>
              <a:gd name="connsiteY3" fmla="*/ 727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10000"/>
                </a:lnTo>
                <a:lnTo>
                  <a:pt x="4372" y="6159"/>
                </a:lnTo>
                <a:cubicBezTo>
                  <a:pt x="6748" y="6159"/>
                  <a:pt x="7624" y="7275"/>
                  <a:pt x="10000" y="7275"/>
                </a:cubicBezTo>
              </a:path>
            </a:pathLst>
          </a:custGeom>
          <a:noFill/>
          <a:ln w="9525">
            <a:solidFill>
              <a:srgbClr val="003399"/>
            </a:solidFill>
            <a:round/>
          </a:ln>
        </p:spPr>
        <p:txBody>
          <a:bodyPr lIns="91402" tIns="45701" rIns="91402" bIns="4570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ja-JP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9" name="Freeform 243"/>
          <p:cNvSpPr/>
          <p:nvPr>
            <p:custDataLst>
              <p:tags r:id="rId23"/>
            </p:custDataLst>
          </p:nvPr>
        </p:nvSpPr>
        <p:spPr bwMode="auto">
          <a:xfrm>
            <a:off x="7350125" y="4330700"/>
            <a:ext cx="363538" cy="1238250"/>
          </a:xfrm>
          <a:custGeom>
            <a:avLst/>
            <a:gdLst>
              <a:gd name="T0" fmla="*/ 762 w 762"/>
              <a:gd name="T1" fmla="*/ 0 h 626"/>
              <a:gd name="T2" fmla="*/ 726 w 762"/>
              <a:gd name="T3" fmla="*/ 36 h 626"/>
              <a:gd name="T4" fmla="*/ 0 w 762"/>
              <a:gd name="T5" fmla="*/ 626 h 626"/>
              <a:gd name="T6" fmla="*/ 136 w 762"/>
              <a:gd name="T7" fmla="*/ 399 h 626"/>
              <a:gd name="T8" fmla="*/ 227 w 762"/>
              <a:gd name="T9" fmla="*/ 490 h 6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2"/>
              <a:gd name="T16" fmla="*/ 0 h 626"/>
              <a:gd name="T17" fmla="*/ 762 w 762"/>
              <a:gd name="T18" fmla="*/ 626 h 6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2" h="626">
                <a:moveTo>
                  <a:pt x="762" y="0"/>
                </a:moveTo>
                <a:cubicBezTo>
                  <a:pt x="736" y="18"/>
                  <a:pt x="749" y="25"/>
                  <a:pt x="726" y="36"/>
                </a:cubicBezTo>
                <a:lnTo>
                  <a:pt x="0" y="626"/>
                </a:lnTo>
                <a:lnTo>
                  <a:pt x="136" y="399"/>
                </a:lnTo>
                <a:lnTo>
                  <a:pt x="227" y="490"/>
                </a:lnTo>
              </a:path>
            </a:pathLst>
          </a:custGeom>
          <a:noFill/>
          <a:ln w="9525" cap="flat" cmpd="sng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02" tIns="45701" rIns="91402" bIns="4570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ja-JP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0" name="Freeform 245"/>
          <p:cNvSpPr/>
          <p:nvPr>
            <p:custDataLst>
              <p:tags r:id="rId24"/>
            </p:custDataLst>
          </p:nvPr>
        </p:nvSpPr>
        <p:spPr bwMode="auto">
          <a:xfrm>
            <a:off x="5799138" y="4316413"/>
            <a:ext cx="993775" cy="1147763"/>
          </a:xfrm>
          <a:custGeom>
            <a:avLst/>
            <a:gdLst>
              <a:gd name="T0" fmla="*/ 1588 w 1588"/>
              <a:gd name="T1" fmla="*/ 0 h 363"/>
              <a:gd name="T2" fmla="*/ 0 w 1588"/>
              <a:gd name="T3" fmla="*/ 363 h 363"/>
              <a:gd name="T4" fmla="*/ 363 w 1588"/>
              <a:gd name="T5" fmla="*/ 227 h 363"/>
              <a:gd name="T6" fmla="*/ 408 w 1588"/>
              <a:gd name="T7" fmla="*/ 318 h 363"/>
              <a:gd name="T8" fmla="*/ 0 60000 65536"/>
              <a:gd name="T9" fmla="*/ 0 60000 65536"/>
              <a:gd name="T10" fmla="*/ 0 60000 65536"/>
              <a:gd name="T11" fmla="*/ 0 60000 65536"/>
              <a:gd name="T12" fmla="*/ 0 w 1588"/>
              <a:gd name="T13" fmla="*/ 0 h 363"/>
              <a:gd name="T14" fmla="*/ 1588 w 1588"/>
              <a:gd name="T15" fmla="*/ 363 h 3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588" h="363">
                <a:moveTo>
                  <a:pt x="1588" y="0"/>
                </a:moveTo>
                <a:lnTo>
                  <a:pt x="0" y="363"/>
                </a:lnTo>
                <a:lnTo>
                  <a:pt x="363" y="227"/>
                </a:lnTo>
                <a:lnTo>
                  <a:pt x="408" y="318"/>
                </a:lnTo>
              </a:path>
            </a:pathLst>
          </a:custGeom>
          <a:noFill/>
          <a:ln w="9525" cap="flat" cmpd="sng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02" tIns="45701" rIns="91402" bIns="4570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ja-JP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1" name="Freeform 247"/>
          <p:cNvSpPr/>
          <p:nvPr>
            <p:custDataLst>
              <p:tags r:id="rId25"/>
            </p:custDataLst>
          </p:nvPr>
        </p:nvSpPr>
        <p:spPr bwMode="auto">
          <a:xfrm>
            <a:off x="7094538" y="3438525"/>
            <a:ext cx="533400" cy="446088"/>
          </a:xfrm>
          <a:custGeom>
            <a:avLst/>
            <a:gdLst>
              <a:gd name="T0" fmla="*/ 1088 w 1088"/>
              <a:gd name="T1" fmla="*/ 499 h 499"/>
              <a:gd name="T2" fmla="*/ 0 w 1088"/>
              <a:gd name="T3" fmla="*/ 0 h 499"/>
              <a:gd name="T4" fmla="*/ 227 w 1088"/>
              <a:gd name="T5" fmla="*/ 182 h 499"/>
              <a:gd name="T6" fmla="*/ 317 w 1088"/>
              <a:gd name="T7" fmla="*/ 91 h 499"/>
              <a:gd name="T8" fmla="*/ 0 60000 65536"/>
              <a:gd name="T9" fmla="*/ 0 60000 65536"/>
              <a:gd name="T10" fmla="*/ 0 60000 65536"/>
              <a:gd name="T11" fmla="*/ 0 60000 65536"/>
              <a:gd name="T12" fmla="*/ 0 w 1088"/>
              <a:gd name="T13" fmla="*/ 0 h 499"/>
              <a:gd name="T14" fmla="*/ 1088 w 1088"/>
              <a:gd name="T15" fmla="*/ 499 h 49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88" h="499">
                <a:moveTo>
                  <a:pt x="1088" y="499"/>
                </a:moveTo>
                <a:lnTo>
                  <a:pt x="0" y="0"/>
                </a:lnTo>
                <a:lnTo>
                  <a:pt x="227" y="182"/>
                </a:lnTo>
                <a:lnTo>
                  <a:pt x="317" y="91"/>
                </a:lnTo>
              </a:path>
            </a:pathLst>
          </a:custGeom>
          <a:noFill/>
          <a:ln w="9525" cap="flat" cmpd="sng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02" tIns="45701" rIns="91402" bIns="4570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ja-JP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2" name="Freeform 248"/>
          <p:cNvSpPr/>
          <p:nvPr>
            <p:custDataLst>
              <p:tags r:id="rId26"/>
            </p:custDataLst>
          </p:nvPr>
        </p:nvSpPr>
        <p:spPr bwMode="auto">
          <a:xfrm>
            <a:off x="8031163" y="3438525"/>
            <a:ext cx="215900" cy="493713"/>
          </a:xfrm>
          <a:custGeom>
            <a:avLst/>
            <a:gdLst>
              <a:gd name="T0" fmla="*/ 499 w 499"/>
              <a:gd name="T1" fmla="*/ 680 h 680"/>
              <a:gd name="T2" fmla="*/ 0 w 499"/>
              <a:gd name="T3" fmla="*/ 0 h 680"/>
              <a:gd name="T4" fmla="*/ 136 w 499"/>
              <a:gd name="T5" fmla="*/ 272 h 680"/>
              <a:gd name="T6" fmla="*/ 227 w 499"/>
              <a:gd name="T7" fmla="*/ 226 h 680"/>
              <a:gd name="T8" fmla="*/ 0 60000 65536"/>
              <a:gd name="T9" fmla="*/ 0 60000 65536"/>
              <a:gd name="T10" fmla="*/ 0 60000 65536"/>
              <a:gd name="T11" fmla="*/ 0 60000 65536"/>
              <a:gd name="T12" fmla="*/ 0 w 499"/>
              <a:gd name="T13" fmla="*/ 0 h 680"/>
              <a:gd name="T14" fmla="*/ 499 w 499"/>
              <a:gd name="T15" fmla="*/ 680 h 68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99" h="680">
                <a:moveTo>
                  <a:pt x="499" y="680"/>
                </a:moveTo>
                <a:lnTo>
                  <a:pt x="0" y="0"/>
                </a:lnTo>
                <a:lnTo>
                  <a:pt x="136" y="272"/>
                </a:lnTo>
                <a:lnTo>
                  <a:pt x="227" y="226"/>
                </a:lnTo>
              </a:path>
            </a:pathLst>
          </a:custGeom>
          <a:noFill/>
          <a:ln w="9525" cap="flat" cmpd="sng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02" tIns="45701" rIns="91402" bIns="4570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ja-JP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3" name="Freeform 250"/>
          <p:cNvSpPr/>
          <p:nvPr>
            <p:custDataLst>
              <p:tags r:id="rId27"/>
            </p:custDataLst>
          </p:nvPr>
        </p:nvSpPr>
        <p:spPr bwMode="auto">
          <a:xfrm>
            <a:off x="5934075" y="3308350"/>
            <a:ext cx="1727200" cy="684213"/>
          </a:xfrm>
          <a:custGeom>
            <a:avLst/>
            <a:gdLst>
              <a:gd name="T0" fmla="*/ 2041 w 2041"/>
              <a:gd name="T1" fmla="*/ 409 h 409"/>
              <a:gd name="T2" fmla="*/ 590 w 2041"/>
              <a:gd name="T3" fmla="*/ 409 h 409"/>
              <a:gd name="T4" fmla="*/ 0 w 2041"/>
              <a:gd name="T5" fmla="*/ 0 h 409"/>
              <a:gd name="T6" fmla="*/ 181 w 2041"/>
              <a:gd name="T7" fmla="*/ 182 h 409"/>
              <a:gd name="T8" fmla="*/ 272 w 2041"/>
              <a:gd name="T9" fmla="*/ 137 h 4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41"/>
              <a:gd name="T16" fmla="*/ 0 h 409"/>
              <a:gd name="T17" fmla="*/ 2041 w 2041"/>
              <a:gd name="T18" fmla="*/ 409 h 40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41" h="409">
                <a:moveTo>
                  <a:pt x="2041" y="409"/>
                </a:moveTo>
                <a:lnTo>
                  <a:pt x="590" y="409"/>
                </a:lnTo>
                <a:lnTo>
                  <a:pt x="0" y="0"/>
                </a:lnTo>
                <a:lnTo>
                  <a:pt x="181" y="182"/>
                </a:lnTo>
                <a:lnTo>
                  <a:pt x="272" y="137"/>
                </a:lnTo>
              </a:path>
            </a:pathLst>
          </a:custGeom>
          <a:noFill/>
          <a:ln w="9525" cap="flat" cmpd="sng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02" tIns="45701" rIns="91402" bIns="4570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ja-JP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274" name="Text Box 39"/>
          <p:cNvSpPr txBox="1"/>
          <p:nvPr>
            <p:custDataLst>
              <p:tags r:id="rId28"/>
            </p:custDataLst>
          </p:nvPr>
        </p:nvSpPr>
        <p:spPr>
          <a:xfrm>
            <a:off x="7812088" y="4451350"/>
            <a:ext cx="557212" cy="488950"/>
          </a:xfrm>
          <a:prstGeom prst="rect">
            <a:avLst/>
          </a:prstGeom>
          <a:noFill/>
          <a:ln w="9525">
            <a:noFill/>
          </a:ln>
        </p:spPr>
        <p:txBody>
          <a:bodyPr wrap="none" lIns="91402" tIns="45701" rIns="91402" bIns="45701">
            <a:spAutoFit/>
          </a:bodyPr>
          <a:lstStyle/>
          <a:p>
            <a:pPr lvl="0" algn="ctr" defTabSz="914400" eaLnBrk="1" hangingPunct="1"/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社</a:t>
            </a:r>
            <a:br>
              <a:rPr lang="ja-JP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ja-JP" altLang="en-US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275" name="直線コネクタ 70"/>
          <p:cNvCxnSpPr>
            <a:stCxn id="94" idx="4"/>
            <a:endCxn id="10274" idx="0"/>
          </p:cNvCxnSpPr>
          <p:nvPr>
            <p:custDataLst>
              <p:tags r:id="rId29"/>
            </p:custDataLst>
          </p:nvPr>
        </p:nvCxnSpPr>
        <p:spPr>
          <a:xfrm flipH="1">
            <a:off x="8091488" y="4143375"/>
            <a:ext cx="215900" cy="295275"/>
          </a:xfrm>
          <a:prstGeom prst="line">
            <a:avLst/>
          </a:prstGeom>
          <a:ln w="9525" cap="flat" cmpd="sng">
            <a:solidFill>
              <a:srgbClr val="003399"/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10276" name="Text Box 40"/>
          <p:cNvSpPr txBox="1"/>
          <p:nvPr>
            <p:custDataLst>
              <p:tags r:id="rId30"/>
            </p:custDataLst>
          </p:nvPr>
        </p:nvSpPr>
        <p:spPr>
          <a:xfrm>
            <a:off x="7443788" y="2897188"/>
            <a:ext cx="966787" cy="458787"/>
          </a:xfrm>
          <a:prstGeom prst="rect">
            <a:avLst/>
          </a:prstGeom>
          <a:noFill/>
          <a:ln w="9525">
            <a:noFill/>
          </a:ln>
        </p:spPr>
        <p:txBody>
          <a:bodyPr lIns="91402" tIns="45701" rIns="91402" bIns="45701">
            <a:spAutoFit/>
          </a:bodyPr>
          <a:lstStyle/>
          <a:p>
            <a:pPr lvl="0" algn="ctr" defTabSz="914400" eaLnBrk="1" hangingPunct="1"/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深谷</a:t>
            </a:r>
            <a:endParaRPr lang="zh-CN" altLang="en-US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 defTabSz="914400" eaLnBrk="1" hangingPunct="1"/>
            <a:r>
              <a:rPr lang="en-US" altLang="ja-JP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2:(LTPS)</a:t>
            </a:r>
            <a:endParaRPr lang="ja-JP" altLang="en-US" sz="1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77" name="Picture 65"/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32"/>
          <a:stretch>
            <a:fillRect/>
          </a:stretch>
        </p:blipFill>
        <p:spPr>
          <a:xfrm>
            <a:off x="7546975" y="2257425"/>
            <a:ext cx="806450" cy="62230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タイトル 1"/>
          <p:cNvSpPr>
            <a:spLocks noGrp="1"/>
          </p:cNvSpPr>
          <p:nvPr>
            <p:ph type="title"/>
          </p:nvPr>
        </p:nvSpPr>
        <p:spPr>
          <a:xfrm>
            <a:off x="190500" y="153988"/>
            <a:ext cx="2927350" cy="611187"/>
          </a:xfrm>
        </p:spPr>
        <p:txBody>
          <a:bodyPr vert="horz" wrap="square" lIns="91438" tIns="45718" rIns="91438" bIns="45718" anchor="ctr">
            <a:spAutoFit/>
          </a:bodyPr>
          <a:lstStyle/>
          <a:p>
            <a:pPr defTabSz="455295" eaLnBrk="1" hangingPunct="1">
              <a:spcBef>
                <a:spcPct val="50000"/>
              </a:spcBef>
            </a:pPr>
            <a:r>
              <a:rPr lang="zh-CN" altLang="en-US" sz="32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SE会社概要</a:t>
            </a:r>
            <a:endParaRPr lang="zh-CN" altLang="en-US" sz="32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  <p:pic>
        <p:nvPicPr>
          <p:cNvPr id="11267" name="图片 1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0250" y="750888"/>
            <a:ext cx="2994025" cy="315277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1268" name="图片 16"/>
          <p:cNvPicPr>
            <a:picLocks noChangeAspect="1"/>
          </p:cNvPicPr>
          <p:nvPr/>
        </p:nvPicPr>
        <p:blipFill>
          <a:blip r:embed="rId2"/>
          <a:srcRect t="18690" r="21663" b="9296"/>
          <a:stretch>
            <a:fillRect/>
          </a:stretch>
        </p:blipFill>
        <p:spPr>
          <a:xfrm>
            <a:off x="771525" y="3938588"/>
            <a:ext cx="3143250" cy="221615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1269" name="图片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1625" y="942975"/>
            <a:ext cx="4884738" cy="2949575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22" name="表格 21"/>
          <p:cNvGraphicFramePr>
            <a:graphicFrameLocks noGrp="1"/>
          </p:cNvGraphicFramePr>
          <p:nvPr/>
        </p:nvGraphicFramePr>
        <p:xfrm>
          <a:off x="4111625" y="3922713"/>
          <a:ext cx="4884738" cy="2279650"/>
        </p:xfrm>
        <a:graphic>
          <a:graphicData uri="http://schemas.openxmlformats.org/drawingml/2006/table">
            <a:tbl>
              <a:tblPr/>
              <a:tblGrid>
                <a:gridCol w="1310827"/>
                <a:gridCol w="3573911"/>
              </a:tblGrid>
              <a:tr h="31414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ea"/>
                          <a:ea typeface="+mn-ea"/>
                          <a:cs typeface="ヒラギノ角ゴ Pro W3"/>
                        </a:rPr>
                        <a:t>会社名称</a:t>
                      </a:r>
                      <a:endParaRPr kumimoji="1" lang="ja-JP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ea"/>
                        <a:ea typeface="+mn-ea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  <a:cs typeface="ヒラギノ角ゴ Pro W3"/>
                        </a:rPr>
                        <a:t>Ｓｕｚｈｏｕ　ＪＤＩ　Ｅｌｅｃｔｒｏｎｉｃｓ　Ｉｎｃ　（ＳＥ）</a:t>
                      </a:r>
                      <a:endParaRPr kumimoji="1" lang="ja-JP" altLang="en-US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</a:tr>
              <a:tr h="31414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ヒラギノ角ゴ Pro W3"/>
                        </a:rPr>
                        <a:t>設立時間</a:t>
                      </a:r>
                      <a:endParaRPr kumimoji="1" lang="ja-JP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1996</a:t>
                      </a:r>
                      <a:r>
                        <a:rPr kumimoji="1" lang="ja-JP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年</a:t>
                      </a:r>
                      <a:r>
                        <a:rPr kumimoji="1" lang="en-US" altLang="ja-JP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2</a:t>
                      </a:r>
                      <a:r>
                        <a:rPr kumimoji="1" lang="ja-JP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月</a:t>
                      </a:r>
                      <a:endParaRPr kumimoji="1" lang="zh-TW" altLang="en-US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微软雅黑" panose="020B0503020204020204" pitchFamily="34" charset="-122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2"/>
                    </a:solidFill>
                  </a:tcPr>
                </a:tc>
              </a:tr>
              <a:tr h="31414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ヒラギノ角ゴ Pro W3"/>
                        </a:rPr>
                        <a:t>登録資金</a:t>
                      </a:r>
                      <a:endParaRPr kumimoji="1" lang="ja-JP" altLang="en-US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ヒラギノ角ゴ Pro W3"/>
                      </a:endParaRPr>
                    </a:p>
                  </a:txBody>
                  <a:tcPr marL="91449" marR="91449" marT="46272" marB="4627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US$</a:t>
                      </a:r>
                      <a:r>
                        <a:rPr kumimoji="1" lang="en-US" altLang="zh-CN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126</a:t>
                      </a:r>
                      <a:r>
                        <a:rPr kumimoji="1" lang="en-US" altLang="ja-JP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M</a:t>
                      </a:r>
                      <a:endParaRPr kumimoji="1" lang="en-US" altLang="ja-JP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微软雅黑" panose="020B0503020204020204" pitchFamily="34" charset="-122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31414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ヒラギノ角ゴ Pro W3"/>
                        </a:rPr>
                        <a:t>総経理</a:t>
                      </a:r>
                      <a:endParaRPr kumimoji="1" lang="ja-JP" altLang="en-US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上野耕太郎　</a:t>
                      </a:r>
                      <a:r>
                        <a:rPr kumimoji="1" lang="en-US" altLang="ja-JP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(Kotaro Ueno)</a:t>
                      </a:r>
                      <a:endParaRPr kumimoji="1" lang="zh-TW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微软雅黑" panose="020B0503020204020204" pitchFamily="34" charset="-122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2"/>
                    </a:solidFill>
                  </a:tcPr>
                </a:tc>
              </a:tr>
              <a:tr h="31414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ヒラギノ角ゴ Pro W3"/>
                        </a:rPr>
                        <a:t>従業員数</a:t>
                      </a:r>
                      <a:endParaRPr kumimoji="1" lang="ja-JP" altLang="en-US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en-US" altLang="ja-JP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1907</a:t>
                      </a:r>
                      <a:r>
                        <a:rPr kumimoji="1" lang="ja-JP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人　</a:t>
                      </a:r>
                      <a:r>
                        <a:rPr kumimoji="1" lang="en-US" altLang="zh-TW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 (Feb. </a:t>
                      </a:r>
                      <a:r>
                        <a:rPr kumimoji="1" lang="en-US" altLang="ja-JP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2017</a:t>
                      </a:r>
                      <a:r>
                        <a:rPr kumimoji="1" lang="en-US" altLang="zh-TW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)</a:t>
                      </a:r>
                      <a:endParaRPr kumimoji="1" lang="zh-TW" altLang="en-US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微软雅黑" panose="020B0503020204020204" pitchFamily="34" charset="-122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39479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ヒラギノ角ゴ Pro W3"/>
                        </a:rPr>
                        <a:t>会社住所</a:t>
                      </a:r>
                      <a:endParaRPr kumimoji="1" lang="ja-JP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ヒラギノ角ゴ Pro W3"/>
                      </a:endParaRPr>
                    </a:p>
                  </a:txBody>
                  <a:tcPr marL="91449" marR="91449" marT="46272" marB="4627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蘇州金楓路</a:t>
                      </a: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168</a:t>
                      </a:r>
                      <a:r>
                        <a:rPr kumimoji="1" lang="ja-JP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微软雅黑" panose="020B0503020204020204" pitchFamily="34" charset="-122"/>
                          <a:cs typeface="ヒラギノ角ゴ Pro W3"/>
                        </a:rPr>
                        <a:t>号</a:t>
                      </a:r>
                      <a:endParaRPr kumimoji="1" lang="ja-JP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微软雅黑" panose="020B0503020204020204" pitchFamily="34" charset="-122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E6F2"/>
                    </a:solidFill>
                  </a:tcPr>
                </a:tc>
              </a:tr>
              <a:tr h="31414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ヒラギノ角ゴ Pro W3"/>
                        </a:rPr>
                        <a:t>経営範囲</a:t>
                      </a:r>
                      <a:endParaRPr kumimoji="1" lang="ja-JP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2847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7419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1991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656330" indent="1905" defTabSz="455295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45529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ヒラギノ角ゴ Pro W3"/>
                        </a:rPr>
                        <a:t>中小型液晶ディスプレイの製造</a:t>
                      </a:r>
                      <a:endParaRPr kumimoji="1" lang="ja-JP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  <a:cs typeface="ヒラギノ角ゴ Pro W3"/>
                      </a:endParaRPr>
                    </a:p>
                  </a:txBody>
                  <a:tcPr marL="91449" marR="91449" marT="46272" marB="4627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  <p:grpSp>
        <p:nvGrpSpPr>
          <p:cNvPr id="11296" name="组合 22"/>
          <p:cNvGrpSpPr/>
          <p:nvPr/>
        </p:nvGrpSpPr>
        <p:grpSpPr>
          <a:xfrm>
            <a:off x="3449638" y="714375"/>
            <a:ext cx="461962" cy="714375"/>
            <a:chOff x="8827129" y="733790"/>
            <a:chExt cx="461727" cy="714763"/>
          </a:xfrm>
        </p:grpSpPr>
        <p:sp>
          <p:nvSpPr>
            <p:cNvPr id="26" name="十字箭头标注 25"/>
            <p:cNvSpPr/>
            <p:nvPr/>
          </p:nvSpPr>
          <p:spPr>
            <a:xfrm>
              <a:off x="8827129" y="962514"/>
              <a:ext cx="461727" cy="486039"/>
            </a:xfrm>
            <a:prstGeom prst="quadArrowCallout">
              <a:avLst>
                <a:gd name="adj1" fmla="val 4509"/>
                <a:gd name="adj2" fmla="val 7987"/>
                <a:gd name="adj3" fmla="val 18515"/>
                <a:gd name="adj4" fmla="val 31590"/>
              </a:avLst>
            </a:prstGeom>
            <a:solidFill>
              <a:srgbClr val="3399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04" name="矩形 26"/>
            <p:cNvSpPr/>
            <p:nvPr/>
          </p:nvSpPr>
          <p:spPr>
            <a:xfrm>
              <a:off x="8895038" y="733790"/>
              <a:ext cx="338553" cy="27699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zh-CN" altLang="en-US" sz="1200" b="1" dirty="0">
                  <a:solidFill>
                    <a:srgbClr val="3399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北</a:t>
              </a:r>
              <a:endParaRPr lang="en-US" altLang="zh-CN" sz="1200" b="1" dirty="0">
                <a:solidFill>
                  <a:srgbClr val="3399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297" name="テキスト ボックス 9"/>
          <p:cNvSpPr txBox="1"/>
          <p:nvPr/>
        </p:nvSpPr>
        <p:spPr>
          <a:xfrm>
            <a:off x="1016000" y="5213350"/>
            <a:ext cx="612775" cy="260350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txBody>
          <a:bodyPr/>
          <a:lstStyle/>
          <a:p>
            <a:pPr lvl="0" eaLnBrk="1" hangingPunct="1"/>
            <a:r>
              <a:rPr lang="ja-JP" altLang="en-US" sz="1100" b="1" dirty="0">
                <a:solidFill>
                  <a:schemeClr val="bg1"/>
                </a:solidFill>
                <a:latin typeface="MS PGothic" panose="020B0600070205080204" pitchFamily="34" charset="-128"/>
                <a:ea typeface="MS PGothic" panose="020B0600070205080204" pitchFamily="34" charset="-128"/>
              </a:rPr>
              <a:t>蘇新区</a:t>
            </a:r>
            <a:endParaRPr lang="ja-JP" altLang="en-US" sz="1100" b="1" dirty="0">
              <a:solidFill>
                <a:schemeClr val="bg1"/>
              </a:solidFill>
              <a:latin typeface="MS PGothic" panose="020B0600070205080204" pitchFamily="34" charset="-128"/>
              <a:ea typeface="MS PGothic" panose="020B0600070205080204" pitchFamily="34" charset="-128"/>
            </a:endParaRPr>
          </a:p>
        </p:txBody>
      </p:sp>
      <p:sp>
        <p:nvSpPr>
          <p:cNvPr id="29" name="円/楕円 39"/>
          <p:cNvSpPr/>
          <p:nvPr/>
        </p:nvSpPr>
        <p:spPr bwMode="auto">
          <a:xfrm>
            <a:off x="1187450" y="5014913"/>
            <a:ext cx="134938" cy="138113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panose="020B0600070205080204" pitchFamily="34" charset="-128"/>
              <a:ea typeface="+mn-ea"/>
              <a:cs typeface="ヒラギノ角ゴ Pro W3"/>
            </a:endParaRPr>
          </a:p>
        </p:txBody>
      </p:sp>
      <p:grpSp>
        <p:nvGrpSpPr>
          <p:cNvPr id="11299" name="グループ化 40"/>
          <p:cNvGrpSpPr/>
          <p:nvPr/>
        </p:nvGrpSpPr>
        <p:grpSpPr>
          <a:xfrm rot="290005">
            <a:off x="935038" y="4254500"/>
            <a:ext cx="779462" cy="630238"/>
            <a:chOff x="170391" y="603169"/>
            <a:chExt cx="723275" cy="601041"/>
          </a:xfrm>
        </p:grpSpPr>
        <p:sp>
          <p:nvSpPr>
            <p:cNvPr id="31" name="泪滴形 20"/>
            <p:cNvSpPr/>
            <p:nvPr/>
          </p:nvSpPr>
          <p:spPr>
            <a:xfrm rot="7825072">
              <a:off x="170831" y="610481"/>
              <a:ext cx="601040" cy="584808"/>
            </a:xfrm>
            <a:prstGeom prst="teardrop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1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02" name="矩形 21"/>
            <p:cNvSpPr/>
            <p:nvPr/>
          </p:nvSpPr>
          <p:spPr>
            <a:xfrm rot="-290005">
              <a:off x="170391" y="773048"/>
              <a:ext cx="723275" cy="307777"/>
            </a:xfrm>
            <a:prstGeom prst="rect">
              <a:avLst/>
            </a:prstGeom>
            <a:noFill/>
            <a:ln w="9525">
              <a:noFill/>
            </a:ln>
          </p:spPr>
          <p:txBody>
            <a:bodyPr/>
            <a:lstStyle/>
            <a:p>
              <a:pPr lvl="0" eaLnBrk="1" hangingPunct="1"/>
              <a:r>
                <a:rPr lang="ja-JP" altLang="en-US" sz="1200" b="1" dirty="0">
                  <a:solidFill>
                    <a:schemeClr val="bg1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現在地</a:t>
              </a:r>
              <a:endParaRPr lang="ja-JP" altLang="en-US" sz="1200" b="1" dirty="0">
                <a:solidFill>
                  <a:schemeClr val="bg1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</p:grpSp>
      <p:sp>
        <p:nvSpPr>
          <p:cNvPr id="33" name="フリーフォーム 2"/>
          <p:cNvSpPr/>
          <p:nvPr/>
        </p:nvSpPr>
        <p:spPr>
          <a:xfrm rot="15493177" flipH="1">
            <a:off x="732631" y="2515394"/>
            <a:ext cx="1616075" cy="1411288"/>
          </a:xfrm>
          <a:custGeom>
            <a:avLst/>
            <a:gdLst>
              <a:gd name="connsiteX0" fmla="*/ 63500 w 1206500"/>
              <a:gd name="connsiteY0" fmla="*/ 1993900 h 1993900"/>
              <a:gd name="connsiteX1" fmla="*/ 127000 w 1206500"/>
              <a:gd name="connsiteY1" fmla="*/ 571500 h 1993900"/>
              <a:gd name="connsiteX2" fmla="*/ 1206500 w 1206500"/>
              <a:gd name="connsiteY2" fmla="*/ 0 h 1993900"/>
              <a:gd name="connsiteX3" fmla="*/ 1206500 w 1206500"/>
              <a:gd name="connsiteY3" fmla="*/ 0 h 199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6500" h="1993900">
                <a:moveTo>
                  <a:pt x="63500" y="1993900"/>
                </a:moveTo>
                <a:cubicBezTo>
                  <a:pt x="0" y="1448858"/>
                  <a:pt x="-63500" y="903817"/>
                  <a:pt x="127000" y="571500"/>
                </a:cubicBezTo>
                <a:cubicBezTo>
                  <a:pt x="317500" y="239183"/>
                  <a:pt x="1206500" y="0"/>
                  <a:pt x="1206500" y="0"/>
                </a:cubicBezTo>
                <a:lnTo>
                  <a:pt x="1206500" y="0"/>
                </a:lnTo>
              </a:path>
            </a:pathLst>
          </a:custGeom>
          <a:noFill/>
          <a:ln w="38100">
            <a:solidFill>
              <a:srgbClr val="FF660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ja-JP" altLang="en-US" sz="1800" b="1" i="0" u="none" strike="noStrike" kern="1200" cap="none" spc="0" normalizeH="0" baseline="0" noProof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solidFill>
                <a:srgbClr val="0A4FA2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3"/>
          <p:cNvSpPr/>
          <p:nvPr/>
        </p:nvSpPr>
        <p:spPr>
          <a:xfrm>
            <a:off x="73025" y="141288"/>
            <a:ext cx="2724150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场布局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363" name="Picture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23925" y="681038"/>
            <a:ext cx="7953375" cy="57197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</p:pic>
      <p:grpSp>
        <p:nvGrpSpPr>
          <p:cNvPr id="15364" name="组合 1"/>
          <p:cNvGrpSpPr/>
          <p:nvPr/>
        </p:nvGrpSpPr>
        <p:grpSpPr>
          <a:xfrm>
            <a:off x="423863" y="765175"/>
            <a:ext cx="9226550" cy="5629275"/>
            <a:chOff x="423863" y="765175"/>
            <a:chExt cx="9226550" cy="5629275"/>
          </a:xfrm>
        </p:grpSpPr>
        <p:sp>
          <p:nvSpPr>
            <p:cNvPr id="34" name="正方形/長方形 10"/>
            <p:cNvSpPr/>
            <p:nvPr/>
          </p:nvSpPr>
          <p:spPr>
            <a:xfrm>
              <a:off x="1662113" y="3270250"/>
              <a:ext cx="1125537" cy="203517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28575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366" name="テキスト ボックス 15"/>
            <p:cNvSpPr txBox="1"/>
            <p:nvPr/>
          </p:nvSpPr>
          <p:spPr>
            <a:xfrm>
              <a:off x="1835150" y="4095750"/>
              <a:ext cx="684213" cy="36988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en-US" altLang="ja-JP" b="1" dirty="0">
                  <a:latin typeface="MS PGothic" panose="020B0600070205080204" pitchFamily="34" charset="-128"/>
                  <a:ea typeface="MS PGothic" panose="020B0600070205080204" pitchFamily="34" charset="-128"/>
                </a:rPr>
                <a:t>D1</a:t>
              </a:r>
              <a:r>
                <a:rPr lang="ja-JP" altLang="en-US" b="1" dirty="0">
                  <a:latin typeface="MS PGothic" panose="020B0600070205080204" pitchFamily="34" charset="-128"/>
                  <a:ea typeface="MS PGothic" panose="020B0600070205080204" pitchFamily="34" charset="-128"/>
                </a:rPr>
                <a:t>棟</a:t>
              </a:r>
              <a:endParaRPr lang="ja-JP" altLang="en-US" b="1" dirty="0"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5367" name="テキスト ボックス 27"/>
            <p:cNvSpPr txBox="1"/>
            <p:nvPr/>
          </p:nvSpPr>
          <p:spPr>
            <a:xfrm>
              <a:off x="5397500" y="6024563"/>
              <a:ext cx="649288" cy="36988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b="1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東門</a:t>
              </a:r>
              <a:endParaRPr lang="ja-JP" altLang="en-US" b="1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5368" name="テキスト ボックス 28"/>
            <p:cNvSpPr txBox="1"/>
            <p:nvPr/>
          </p:nvSpPr>
          <p:spPr>
            <a:xfrm>
              <a:off x="2695575" y="5948363"/>
              <a:ext cx="649288" cy="36988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b="1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南門</a:t>
              </a:r>
              <a:endParaRPr lang="ja-JP" altLang="en-US" b="1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5369" name="テキスト ボックス 20"/>
            <p:cNvSpPr txBox="1"/>
            <p:nvPr/>
          </p:nvSpPr>
          <p:spPr>
            <a:xfrm rot="155834">
              <a:off x="6858000" y="6005513"/>
              <a:ext cx="877888" cy="36988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b="1" dirty="0">
                  <a:solidFill>
                    <a:srgbClr val="E46C0A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漁洋街</a:t>
              </a:r>
              <a:endParaRPr lang="ja-JP" altLang="en-US" b="1" dirty="0">
                <a:solidFill>
                  <a:srgbClr val="E46C0A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5370" name="テキスト ボックス 30"/>
            <p:cNvSpPr txBox="1"/>
            <p:nvPr/>
          </p:nvSpPr>
          <p:spPr>
            <a:xfrm>
              <a:off x="4305300" y="5413375"/>
              <a:ext cx="646113" cy="2778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1200" b="1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駐輪場</a:t>
              </a:r>
              <a:endParaRPr lang="ja-JP" altLang="en-US" sz="1200" b="1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40" name="テキスト ボックス 39"/>
            <p:cNvSpPr txBox="1"/>
            <p:nvPr/>
          </p:nvSpPr>
          <p:spPr>
            <a:xfrm>
              <a:off x="4373563" y="4576763"/>
              <a:ext cx="1287462" cy="6096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none"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業者エリア</a:t>
              </a:r>
              <a:endPara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MS PGothic" panose="020B0600070205080204" pitchFamily="34" charset="-128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5372" name="テキスト ボックス 41"/>
            <p:cNvSpPr txBox="1"/>
            <p:nvPr/>
          </p:nvSpPr>
          <p:spPr>
            <a:xfrm>
              <a:off x="423863" y="2571750"/>
              <a:ext cx="649287" cy="3683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b="1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西門</a:t>
              </a:r>
              <a:endParaRPr lang="ja-JP" altLang="en-US" b="1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42" name="テキスト ボックス 1030"/>
            <p:cNvSpPr txBox="1"/>
            <p:nvPr/>
          </p:nvSpPr>
          <p:spPr>
            <a:xfrm>
              <a:off x="6565900" y="3587750"/>
              <a:ext cx="3084513" cy="135413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none">
              <a:spAutoFit/>
            </a:bodyPr>
            <a:lstStyle/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全敷地面積：</a:t>
              </a:r>
              <a:r>
                <a:rPr kumimoji="1" lang="en-US" altLang="ja-JP" sz="1800" b="0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129,600m2</a:t>
              </a:r>
              <a:endPara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MS PGothic" panose="020B0600070205080204" pitchFamily="34" charset="-128"/>
                <a:ea typeface="MS PGothic" panose="020B0600070205080204" pitchFamily="34" charset="-128"/>
                <a:cs typeface="ヒラギノ角ゴ Pro W3"/>
              </a:endParaRPr>
            </a:p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　・</a:t>
              </a: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D1</a:t>
              </a: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棟面積：</a:t>
              </a: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20,319m2</a:t>
              </a:r>
              <a:endPara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S PGothic" panose="020B0600070205080204" pitchFamily="34" charset="-128"/>
                <a:ea typeface="MS PGothic" panose="020B0600070205080204" pitchFamily="34" charset="-128"/>
                <a:cs typeface="ヒラギノ角ゴ Pro W3"/>
              </a:endParaRPr>
            </a:p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　・</a:t>
              </a: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D2</a:t>
              </a: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棟面積：</a:t>
              </a: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14,514m2</a:t>
              </a:r>
              <a:endPara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S PGothic" panose="020B0600070205080204" pitchFamily="34" charset="-128"/>
                <a:ea typeface="MS PGothic" panose="020B0600070205080204" pitchFamily="34" charset="-128"/>
                <a:cs typeface="ヒラギノ角ゴ Pro W3"/>
              </a:endParaRPr>
            </a:p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（</a:t>
              </a: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CR</a:t>
              </a: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面積</a:t>
              </a: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(D1/D2</a:t>
              </a: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合計</a:t>
              </a: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)</a:t>
              </a: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：</a:t>
              </a: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13,800m2</a:t>
              </a: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）</a:t>
              </a:r>
              <a:endParaRPr kumimoji="1" lang="en-US" altLang="ja-JP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S PGothic" panose="020B0600070205080204" pitchFamily="34" charset="-128"/>
                <a:ea typeface="MS PGothic" panose="020B0600070205080204" pitchFamily="34" charset="-128"/>
                <a:cs typeface="ヒラギノ角ゴ Pro W3"/>
              </a:endParaRPr>
            </a:p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　・厚生棟面積：</a:t>
              </a:r>
              <a:r>
                <a:rPr kumimoji="1" lang="en-US" altLang="ja-JP" sz="16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ヒラギノ角ゴ Pro W3"/>
                </a:rPr>
                <a:t>10,008m2</a:t>
              </a:r>
              <a:endParaRPr kumimoji="1" lang="ja-JP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S PGothic" panose="020B0600070205080204" pitchFamily="34" charset="-128"/>
                <a:ea typeface="MS PGothic" panose="020B0600070205080204" pitchFamily="34" charset="-128"/>
                <a:cs typeface="ヒラギノ角ゴ Pro W3"/>
              </a:endParaRPr>
            </a:p>
          </p:txBody>
        </p:sp>
        <p:cxnSp>
          <p:nvCxnSpPr>
            <p:cNvPr id="43" name="直線コネクタ 1032"/>
            <p:cNvCxnSpPr>
              <a:stCxn id="49" idx="2"/>
            </p:cNvCxnSpPr>
            <p:nvPr/>
          </p:nvCxnSpPr>
          <p:spPr>
            <a:xfrm flipV="1">
              <a:off x="1074738" y="765175"/>
              <a:ext cx="0" cy="4524375"/>
            </a:xfrm>
            <a:prstGeom prst="line">
              <a:avLst/>
            </a:prstGeom>
            <a:ln w="76200">
              <a:solidFill>
                <a:srgbClr val="FFC00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線コネクタ 45"/>
            <p:cNvCxnSpPr>
              <a:stCxn id="49" idx="2"/>
            </p:cNvCxnSpPr>
            <p:nvPr/>
          </p:nvCxnSpPr>
          <p:spPr>
            <a:xfrm>
              <a:off x="1065213" y="765175"/>
              <a:ext cx="6089650" cy="77788"/>
            </a:xfrm>
            <a:prstGeom prst="line">
              <a:avLst/>
            </a:prstGeom>
            <a:ln w="76200">
              <a:solidFill>
                <a:srgbClr val="FFC00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線コネクタ 48"/>
            <p:cNvCxnSpPr>
              <a:stCxn id="49" idx="2"/>
            </p:cNvCxnSpPr>
            <p:nvPr/>
          </p:nvCxnSpPr>
          <p:spPr>
            <a:xfrm>
              <a:off x="7154863" y="842963"/>
              <a:ext cx="644525" cy="2586037"/>
            </a:xfrm>
            <a:prstGeom prst="line">
              <a:avLst/>
            </a:prstGeom>
            <a:ln w="76200">
              <a:solidFill>
                <a:srgbClr val="FFC00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線コネクタ 51"/>
            <p:cNvCxnSpPr>
              <a:stCxn id="49" idx="2"/>
            </p:cNvCxnSpPr>
            <p:nvPr/>
          </p:nvCxnSpPr>
          <p:spPr>
            <a:xfrm>
              <a:off x="6367463" y="3429000"/>
              <a:ext cx="1462087" cy="12700"/>
            </a:xfrm>
            <a:prstGeom prst="line">
              <a:avLst/>
            </a:prstGeom>
            <a:ln w="76200">
              <a:solidFill>
                <a:srgbClr val="FFC00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線コネクタ 54"/>
            <p:cNvCxnSpPr>
              <a:stCxn id="49" idx="2"/>
            </p:cNvCxnSpPr>
            <p:nvPr/>
          </p:nvCxnSpPr>
          <p:spPr>
            <a:xfrm flipH="1">
              <a:off x="6321425" y="3429000"/>
              <a:ext cx="71438" cy="2592388"/>
            </a:xfrm>
            <a:prstGeom prst="line">
              <a:avLst/>
            </a:prstGeom>
            <a:ln w="76200">
              <a:solidFill>
                <a:srgbClr val="FFC00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線コネクタ 57"/>
            <p:cNvCxnSpPr>
              <a:stCxn id="49" idx="2"/>
            </p:cNvCxnSpPr>
            <p:nvPr/>
          </p:nvCxnSpPr>
          <p:spPr>
            <a:xfrm flipH="1" flipV="1">
              <a:off x="1666875" y="5854700"/>
              <a:ext cx="4654550" cy="169863"/>
            </a:xfrm>
            <a:prstGeom prst="line">
              <a:avLst/>
            </a:prstGeom>
            <a:ln w="76200">
              <a:solidFill>
                <a:srgbClr val="FFC00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円弧 1043"/>
            <p:cNvSpPr/>
            <p:nvPr/>
          </p:nvSpPr>
          <p:spPr>
            <a:xfrm rot="10800000">
              <a:off x="1074738" y="4724400"/>
              <a:ext cx="1169987" cy="1130300"/>
            </a:xfrm>
            <a:prstGeom prst="arc">
              <a:avLst/>
            </a:prstGeom>
            <a:ln w="76200">
              <a:solidFill>
                <a:srgbClr val="FFC00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50" name="正方形/長方形 1050"/>
            <p:cNvSpPr/>
            <p:nvPr/>
          </p:nvSpPr>
          <p:spPr>
            <a:xfrm>
              <a:off x="4448175" y="2755900"/>
              <a:ext cx="300038" cy="184150"/>
            </a:xfrm>
            <a:prstGeom prst="rect">
              <a:avLst/>
            </a:prstGeom>
            <a:noFill/>
            <a:ln w="1270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51" name="正方形/長方形 1052"/>
            <p:cNvSpPr/>
            <p:nvPr/>
          </p:nvSpPr>
          <p:spPr>
            <a:xfrm>
              <a:off x="1509713" y="2763838"/>
              <a:ext cx="1287462" cy="503237"/>
            </a:xfrm>
            <a:prstGeom prst="rect">
              <a:avLst/>
            </a:prstGeom>
            <a:noFill/>
            <a:ln w="19050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52" name="正方形/長方形 73"/>
            <p:cNvSpPr/>
            <p:nvPr/>
          </p:nvSpPr>
          <p:spPr>
            <a:xfrm>
              <a:off x="3919538" y="4089400"/>
              <a:ext cx="96837" cy="4635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384" name="テキスト ボックス 74"/>
            <p:cNvSpPr txBox="1"/>
            <p:nvPr/>
          </p:nvSpPr>
          <p:spPr>
            <a:xfrm rot="-5400000">
              <a:off x="3726654" y="4209254"/>
              <a:ext cx="492125" cy="21431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8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教育室</a:t>
              </a:r>
              <a:endParaRPr lang="en-US" altLang="ja-JP" sz="8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54" name="正方形/長方形 75"/>
            <p:cNvSpPr/>
            <p:nvPr/>
          </p:nvSpPr>
          <p:spPr>
            <a:xfrm>
              <a:off x="3897313" y="4572000"/>
              <a:ext cx="119062" cy="6572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FF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386" name="テキスト ボックス 76"/>
            <p:cNvSpPr txBox="1"/>
            <p:nvPr/>
          </p:nvSpPr>
          <p:spPr>
            <a:xfrm rot="-5400000">
              <a:off x="3767929" y="4793454"/>
              <a:ext cx="388937" cy="21590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8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車両</a:t>
              </a:r>
              <a:endParaRPr lang="en-US" altLang="ja-JP" sz="8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56" name="角丸四角形 1054"/>
            <p:cNvSpPr/>
            <p:nvPr/>
          </p:nvSpPr>
          <p:spPr>
            <a:xfrm>
              <a:off x="4919663" y="1412875"/>
              <a:ext cx="747712" cy="1568450"/>
            </a:xfrm>
            <a:prstGeom prst="roundRect">
              <a:avLst>
                <a:gd name="adj" fmla="val 10298"/>
              </a:avLst>
            </a:prstGeom>
            <a:solidFill>
              <a:srgbClr val="00FF00"/>
            </a:solidFill>
            <a:ln>
              <a:solidFill>
                <a:srgbClr val="00FF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388" name="テキスト ボックス 81"/>
            <p:cNvSpPr txBox="1"/>
            <p:nvPr/>
          </p:nvSpPr>
          <p:spPr>
            <a:xfrm>
              <a:off x="5057775" y="2058988"/>
              <a:ext cx="492125" cy="2762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1200" b="1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緑地</a:t>
              </a:r>
              <a:endParaRPr lang="ja-JP" altLang="en-US" sz="1200" b="1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grpSp>
          <p:nvGrpSpPr>
            <p:cNvPr id="15389" name="グループ化 33"/>
            <p:cNvGrpSpPr/>
            <p:nvPr/>
          </p:nvGrpSpPr>
          <p:grpSpPr>
            <a:xfrm>
              <a:off x="5810250" y="1531938"/>
              <a:ext cx="1087438" cy="1600200"/>
              <a:chOff x="7943576" y="1171144"/>
              <a:chExt cx="1039832" cy="1487694"/>
            </a:xfrm>
          </p:grpSpPr>
          <p:sp>
            <p:nvSpPr>
              <p:cNvPr id="178" name="正方形/長方形 31"/>
              <p:cNvSpPr/>
              <p:nvPr/>
            </p:nvSpPr>
            <p:spPr>
              <a:xfrm>
                <a:off x="7943576" y="1171144"/>
                <a:ext cx="1039832" cy="742371"/>
              </a:xfrm>
              <a:prstGeom prst="rect">
                <a:avLst/>
              </a:prstGeom>
              <a:solidFill>
                <a:srgbClr val="6666FF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79" name="正方形/長方形 83"/>
              <p:cNvSpPr/>
              <p:nvPr/>
            </p:nvSpPr>
            <p:spPr>
              <a:xfrm>
                <a:off x="7943576" y="1913515"/>
                <a:ext cx="1039832" cy="740895"/>
              </a:xfrm>
              <a:prstGeom prst="rect">
                <a:avLst/>
              </a:prstGeom>
              <a:solidFill>
                <a:srgbClr val="6666FF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80" name="正方形/長方形 84"/>
              <p:cNvSpPr/>
              <p:nvPr/>
            </p:nvSpPr>
            <p:spPr>
              <a:xfrm>
                <a:off x="8136363" y="1174096"/>
                <a:ext cx="648186" cy="277467"/>
              </a:xfrm>
              <a:prstGeom prst="rect">
                <a:avLst/>
              </a:prstGeom>
              <a:solidFill>
                <a:srgbClr val="6666FF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81" name="正方形/長方形 85"/>
              <p:cNvSpPr/>
              <p:nvPr/>
            </p:nvSpPr>
            <p:spPr>
              <a:xfrm>
                <a:off x="8136363" y="2381371"/>
                <a:ext cx="648186" cy="275990"/>
              </a:xfrm>
              <a:prstGeom prst="rect">
                <a:avLst/>
              </a:prstGeom>
              <a:solidFill>
                <a:srgbClr val="6666FF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82" name="円/楕円 32"/>
              <p:cNvSpPr/>
              <p:nvPr/>
            </p:nvSpPr>
            <p:spPr>
              <a:xfrm>
                <a:off x="8330667" y="1779209"/>
                <a:ext cx="268686" cy="268611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83" name="正方形/長方形 87"/>
              <p:cNvSpPr/>
              <p:nvPr/>
            </p:nvSpPr>
            <p:spPr>
              <a:xfrm>
                <a:off x="8307897" y="1174096"/>
                <a:ext cx="327888" cy="53132"/>
              </a:xfrm>
              <a:prstGeom prst="rect">
                <a:avLst/>
              </a:prstGeom>
              <a:solidFill>
                <a:srgbClr val="6666FF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84" name="正方形/長方形 88"/>
              <p:cNvSpPr/>
              <p:nvPr/>
            </p:nvSpPr>
            <p:spPr>
              <a:xfrm>
                <a:off x="8307897" y="2605706"/>
                <a:ext cx="327888" cy="53132"/>
              </a:xfrm>
              <a:prstGeom prst="rect">
                <a:avLst/>
              </a:prstGeom>
              <a:solidFill>
                <a:srgbClr val="6666FF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</p:grpSp>
        <p:sp>
          <p:nvSpPr>
            <p:cNvPr id="15390" name="テキスト ボックス 18"/>
            <p:cNvSpPr txBox="1"/>
            <p:nvPr/>
          </p:nvSpPr>
          <p:spPr>
            <a:xfrm>
              <a:off x="5868988" y="1908175"/>
              <a:ext cx="720090" cy="3048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zh-CN" altLang="ja-JP" sz="1400" b="1" dirty="0">
                  <a:solidFill>
                    <a:srgbClr val="FF0000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足球场</a:t>
              </a:r>
              <a:endParaRPr lang="zh-CN" altLang="ja-JP" sz="1400" b="1" dirty="0">
                <a:solidFill>
                  <a:srgbClr val="FF0000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60" name="角丸四角形 53"/>
            <p:cNvSpPr/>
            <p:nvPr/>
          </p:nvSpPr>
          <p:spPr>
            <a:xfrm>
              <a:off x="4346575" y="3086100"/>
              <a:ext cx="479425" cy="438150"/>
            </a:xfrm>
            <a:prstGeom prst="roundRect">
              <a:avLst>
                <a:gd name="adj" fmla="val 15627"/>
              </a:avLst>
            </a:prstGeom>
            <a:solidFill>
              <a:srgbClr val="00FF00"/>
            </a:solidFill>
            <a:ln>
              <a:solidFill>
                <a:srgbClr val="00FF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61" name="角丸四角形 108"/>
            <p:cNvSpPr/>
            <p:nvPr/>
          </p:nvSpPr>
          <p:spPr>
            <a:xfrm>
              <a:off x="4346575" y="3608388"/>
              <a:ext cx="479425" cy="258762"/>
            </a:xfrm>
            <a:prstGeom prst="roundRect">
              <a:avLst>
                <a:gd name="adj" fmla="val 15627"/>
              </a:avLst>
            </a:prstGeom>
            <a:solidFill>
              <a:srgbClr val="00FF00"/>
            </a:solidFill>
            <a:ln>
              <a:solidFill>
                <a:srgbClr val="00FF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62" name="角丸四角形 109"/>
            <p:cNvSpPr/>
            <p:nvPr/>
          </p:nvSpPr>
          <p:spPr>
            <a:xfrm>
              <a:off x="4919663" y="3608388"/>
              <a:ext cx="747712" cy="258762"/>
            </a:xfrm>
            <a:prstGeom prst="roundRect">
              <a:avLst>
                <a:gd name="adj" fmla="val 44132"/>
              </a:avLst>
            </a:prstGeom>
            <a:solidFill>
              <a:srgbClr val="00FF00"/>
            </a:solidFill>
            <a:ln>
              <a:solidFill>
                <a:srgbClr val="00FF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63" name="正方形/長方形 56"/>
            <p:cNvSpPr/>
            <p:nvPr/>
          </p:nvSpPr>
          <p:spPr>
            <a:xfrm>
              <a:off x="4240213" y="3959225"/>
              <a:ext cx="1416050" cy="59372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395" name="テキスト ボックス 72"/>
            <p:cNvSpPr txBox="1"/>
            <p:nvPr/>
          </p:nvSpPr>
          <p:spPr>
            <a:xfrm>
              <a:off x="4513263" y="4110038"/>
              <a:ext cx="884237" cy="30956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ctr"/>
            <a:lstStyle/>
            <a:p>
              <a:pPr lvl="0" algn="ctr" eaLnBrk="1" hangingPunct="1"/>
              <a:r>
                <a:rPr lang="ja-JP" altLang="en-US" sz="1200" b="1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バス昇降区</a:t>
              </a:r>
              <a:endParaRPr lang="ja-JP" altLang="en-US" sz="1200" b="1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65" name="角丸四角形 105"/>
            <p:cNvSpPr/>
            <p:nvPr/>
          </p:nvSpPr>
          <p:spPr>
            <a:xfrm>
              <a:off x="4933950" y="3084513"/>
              <a:ext cx="728663" cy="438150"/>
            </a:xfrm>
            <a:prstGeom prst="roundRect">
              <a:avLst>
                <a:gd name="adj" fmla="val 15627"/>
              </a:avLst>
            </a:prstGeom>
            <a:solidFill>
              <a:srgbClr val="00FF00"/>
            </a:solidFill>
            <a:ln>
              <a:solidFill>
                <a:srgbClr val="00FF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grpSp>
          <p:nvGrpSpPr>
            <p:cNvPr id="15397" name="グループ化 44"/>
            <p:cNvGrpSpPr/>
            <p:nvPr/>
          </p:nvGrpSpPr>
          <p:grpSpPr>
            <a:xfrm>
              <a:off x="4967288" y="3184525"/>
              <a:ext cx="669925" cy="230188"/>
              <a:chOff x="4969989" y="2959450"/>
              <a:chExt cx="668655" cy="230981"/>
            </a:xfrm>
          </p:grpSpPr>
          <p:sp>
            <p:nvSpPr>
              <p:cNvPr id="171" name="正方形/長方形 34"/>
              <p:cNvSpPr/>
              <p:nvPr/>
            </p:nvSpPr>
            <p:spPr>
              <a:xfrm>
                <a:off x="5058720" y="2959450"/>
                <a:ext cx="491192" cy="230981"/>
              </a:xfrm>
              <a:prstGeom prst="rect">
                <a:avLst/>
              </a:prstGeom>
              <a:solidFill>
                <a:srgbClr val="FFC0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72" name="円弧 35"/>
              <p:cNvSpPr/>
              <p:nvPr/>
            </p:nvSpPr>
            <p:spPr>
              <a:xfrm>
                <a:off x="4969989" y="3002461"/>
                <a:ext cx="175878" cy="144960"/>
              </a:xfrm>
              <a:prstGeom prst="arc">
                <a:avLst>
                  <a:gd name="adj1" fmla="val 16088729"/>
                  <a:gd name="adj2" fmla="val 5498499"/>
                </a:avLst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endParaRPr>
              </a:p>
            </p:txBody>
          </p:sp>
          <p:sp>
            <p:nvSpPr>
              <p:cNvPr id="173" name="円弧 92"/>
              <p:cNvSpPr/>
              <p:nvPr/>
            </p:nvSpPr>
            <p:spPr>
              <a:xfrm rot="10800000">
                <a:off x="5462765" y="3002461"/>
                <a:ext cx="175879" cy="144960"/>
              </a:xfrm>
              <a:prstGeom prst="arc">
                <a:avLst>
                  <a:gd name="adj1" fmla="val 16088729"/>
                  <a:gd name="adj2" fmla="val 5498499"/>
                </a:avLst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ea"/>
                  <a:ea typeface="+mn-ea"/>
                  <a:cs typeface="+mn-cs"/>
                </a:endParaRPr>
              </a:p>
            </p:txBody>
          </p:sp>
          <p:cxnSp>
            <p:nvCxnSpPr>
              <p:cNvPr id="174" name="直線コネクタ 37"/>
              <p:cNvCxnSpPr>
                <a:stCxn id="171" idx="2"/>
                <a:endCxn id="171" idx="0"/>
              </p:cNvCxnSpPr>
              <p:nvPr/>
            </p:nvCxnSpPr>
            <p:spPr>
              <a:xfrm flipV="1">
                <a:off x="5304316" y="2959450"/>
                <a:ext cx="0" cy="230981"/>
              </a:xfrm>
              <a:prstGeom prst="line">
                <a:avLst/>
              </a:prstGeom>
              <a:ln w="635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円/楕円 42"/>
              <p:cNvSpPr/>
              <p:nvPr/>
            </p:nvSpPr>
            <p:spPr>
              <a:xfrm>
                <a:off x="5275795" y="3045470"/>
                <a:ext cx="58627" cy="57347"/>
              </a:xfrm>
              <a:prstGeom prst="ellipse">
                <a:avLst/>
              </a:prstGeom>
              <a:noFill/>
              <a:ln w="6350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76" name="円/楕円 97"/>
              <p:cNvSpPr/>
              <p:nvPr/>
            </p:nvSpPr>
            <p:spPr>
              <a:xfrm>
                <a:off x="5087241" y="3045470"/>
                <a:ext cx="58626" cy="57347"/>
              </a:xfrm>
              <a:prstGeom prst="ellipse">
                <a:avLst/>
              </a:prstGeom>
              <a:noFill/>
              <a:ln w="6350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77" name="円/楕円 98"/>
              <p:cNvSpPr/>
              <p:nvPr/>
            </p:nvSpPr>
            <p:spPr>
              <a:xfrm>
                <a:off x="5462765" y="3045470"/>
                <a:ext cx="60211" cy="57347"/>
              </a:xfrm>
              <a:prstGeom prst="ellipse">
                <a:avLst/>
              </a:prstGeom>
              <a:noFill/>
              <a:ln w="6350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</p:grpSp>
        <p:sp>
          <p:nvSpPr>
            <p:cNvPr id="15398" name="テキスト ボックス 19"/>
            <p:cNvSpPr txBox="1"/>
            <p:nvPr/>
          </p:nvSpPr>
          <p:spPr>
            <a:xfrm>
              <a:off x="4989513" y="2922905"/>
              <a:ext cx="720090" cy="3048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zh-CN" altLang="ja-JP" sz="1400" b="1" dirty="0">
                  <a:solidFill>
                    <a:srgbClr val="FF0000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篮球场</a:t>
              </a:r>
              <a:endParaRPr lang="zh-CN" altLang="ja-JP" sz="1400" b="1" dirty="0">
                <a:solidFill>
                  <a:srgbClr val="FF0000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68" name="フリーフォーム 5"/>
            <p:cNvSpPr/>
            <p:nvPr/>
          </p:nvSpPr>
          <p:spPr>
            <a:xfrm>
              <a:off x="4754563" y="866775"/>
              <a:ext cx="2514600" cy="647700"/>
            </a:xfrm>
            <a:custGeom>
              <a:avLst/>
              <a:gdLst>
                <a:gd name="connsiteX0" fmla="*/ 0 w 2514600"/>
                <a:gd name="connsiteY0" fmla="*/ 0 h 647700"/>
                <a:gd name="connsiteX1" fmla="*/ 2369820 w 2514600"/>
                <a:gd name="connsiteY1" fmla="*/ 38100 h 647700"/>
                <a:gd name="connsiteX2" fmla="*/ 2514600 w 2514600"/>
                <a:gd name="connsiteY2" fmla="*/ 640080 h 647700"/>
                <a:gd name="connsiteX3" fmla="*/ 998220 w 2514600"/>
                <a:gd name="connsiteY3" fmla="*/ 647700 h 647700"/>
                <a:gd name="connsiteX4" fmla="*/ 990600 w 2514600"/>
                <a:gd name="connsiteY4" fmla="*/ 510540 h 647700"/>
                <a:gd name="connsiteX5" fmla="*/ 990600 w 2514600"/>
                <a:gd name="connsiteY5" fmla="*/ 487680 h 647700"/>
                <a:gd name="connsiteX6" fmla="*/ 967740 w 2514600"/>
                <a:gd name="connsiteY6" fmla="*/ 457200 h 647700"/>
                <a:gd name="connsiteX7" fmla="*/ 944880 w 2514600"/>
                <a:gd name="connsiteY7" fmla="*/ 457200 h 647700"/>
                <a:gd name="connsiteX8" fmla="*/ 914400 w 2514600"/>
                <a:gd name="connsiteY8" fmla="*/ 449580 h 647700"/>
                <a:gd name="connsiteX9" fmla="*/ 457200 w 2514600"/>
                <a:gd name="connsiteY9" fmla="*/ 457200 h 647700"/>
                <a:gd name="connsiteX10" fmla="*/ 426720 w 2514600"/>
                <a:gd name="connsiteY10" fmla="*/ 457200 h 647700"/>
                <a:gd name="connsiteX11" fmla="*/ 381000 w 2514600"/>
                <a:gd name="connsiteY11" fmla="*/ 441960 h 647700"/>
                <a:gd name="connsiteX12" fmla="*/ 320040 w 2514600"/>
                <a:gd name="connsiteY12" fmla="*/ 411480 h 647700"/>
                <a:gd name="connsiteX13" fmla="*/ 259080 w 2514600"/>
                <a:gd name="connsiteY13" fmla="*/ 381000 h 647700"/>
                <a:gd name="connsiteX14" fmla="*/ 213360 w 2514600"/>
                <a:gd name="connsiteY14" fmla="*/ 312420 h 647700"/>
                <a:gd name="connsiteX15" fmla="*/ 175260 w 2514600"/>
                <a:gd name="connsiteY15" fmla="*/ 243840 h 647700"/>
                <a:gd name="connsiteX16" fmla="*/ 167640 w 2514600"/>
                <a:gd name="connsiteY16" fmla="*/ 182880 h 647700"/>
                <a:gd name="connsiteX17" fmla="*/ 160020 w 2514600"/>
                <a:gd name="connsiteY17" fmla="*/ 121920 h 647700"/>
                <a:gd name="connsiteX18" fmla="*/ 137160 w 2514600"/>
                <a:gd name="connsiteY18" fmla="*/ 83820 h 647700"/>
                <a:gd name="connsiteX19" fmla="*/ 106680 w 2514600"/>
                <a:gd name="connsiteY19" fmla="*/ 53340 h 647700"/>
                <a:gd name="connsiteX20" fmla="*/ 68580 w 2514600"/>
                <a:gd name="connsiteY20" fmla="*/ 22860 h 647700"/>
                <a:gd name="connsiteX21" fmla="*/ 0 w 2514600"/>
                <a:gd name="connsiteY21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14600" h="647700">
                  <a:moveTo>
                    <a:pt x="0" y="0"/>
                  </a:moveTo>
                  <a:lnTo>
                    <a:pt x="2369820" y="38100"/>
                  </a:lnTo>
                  <a:lnTo>
                    <a:pt x="2514600" y="640080"/>
                  </a:lnTo>
                  <a:lnTo>
                    <a:pt x="998220" y="647700"/>
                  </a:lnTo>
                  <a:lnTo>
                    <a:pt x="990600" y="510540"/>
                  </a:lnTo>
                  <a:lnTo>
                    <a:pt x="990600" y="487680"/>
                  </a:lnTo>
                  <a:lnTo>
                    <a:pt x="967740" y="457200"/>
                  </a:lnTo>
                  <a:lnTo>
                    <a:pt x="944880" y="457200"/>
                  </a:lnTo>
                  <a:lnTo>
                    <a:pt x="914400" y="449580"/>
                  </a:lnTo>
                  <a:lnTo>
                    <a:pt x="457200" y="457200"/>
                  </a:lnTo>
                  <a:lnTo>
                    <a:pt x="426720" y="457200"/>
                  </a:lnTo>
                  <a:lnTo>
                    <a:pt x="381000" y="441960"/>
                  </a:lnTo>
                  <a:lnTo>
                    <a:pt x="320040" y="411480"/>
                  </a:lnTo>
                  <a:lnTo>
                    <a:pt x="259080" y="381000"/>
                  </a:lnTo>
                  <a:lnTo>
                    <a:pt x="213360" y="312420"/>
                  </a:lnTo>
                  <a:lnTo>
                    <a:pt x="175260" y="243840"/>
                  </a:lnTo>
                  <a:lnTo>
                    <a:pt x="167640" y="182880"/>
                  </a:lnTo>
                  <a:lnTo>
                    <a:pt x="160020" y="121920"/>
                  </a:lnTo>
                  <a:lnTo>
                    <a:pt x="137160" y="83820"/>
                  </a:lnTo>
                  <a:lnTo>
                    <a:pt x="106680" y="53340"/>
                  </a:lnTo>
                  <a:lnTo>
                    <a:pt x="68580" y="228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69" name="円/楕円 55"/>
            <p:cNvSpPr/>
            <p:nvPr/>
          </p:nvSpPr>
          <p:spPr>
            <a:xfrm>
              <a:off x="4989513" y="952500"/>
              <a:ext cx="96837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0" name="円/楕円 111"/>
            <p:cNvSpPr/>
            <p:nvPr/>
          </p:nvSpPr>
          <p:spPr>
            <a:xfrm>
              <a:off x="5203825" y="95250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1" name="円/楕円 112"/>
            <p:cNvSpPr/>
            <p:nvPr/>
          </p:nvSpPr>
          <p:spPr>
            <a:xfrm>
              <a:off x="5443538" y="95250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2" name="円/楕円 113"/>
            <p:cNvSpPr/>
            <p:nvPr/>
          </p:nvSpPr>
          <p:spPr>
            <a:xfrm>
              <a:off x="5659438" y="952500"/>
              <a:ext cx="96837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3" name="円/楕円 114"/>
            <p:cNvSpPr/>
            <p:nvPr/>
          </p:nvSpPr>
          <p:spPr>
            <a:xfrm>
              <a:off x="5886450" y="95250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4" name="円/楕円 115"/>
            <p:cNvSpPr/>
            <p:nvPr/>
          </p:nvSpPr>
          <p:spPr>
            <a:xfrm>
              <a:off x="6100763" y="95250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5" name="円/楕円 116"/>
            <p:cNvSpPr/>
            <p:nvPr/>
          </p:nvSpPr>
          <p:spPr>
            <a:xfrm>
              <a:off x="6329363" y="95250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6" name="円/楕円 117"/>
            <p:cNvSpPr/>
            <p:nvPr/>
          </p:nvSpPr>
          <p:spPr>
            <a:xfrm>
              <a:off x="6545263" y="95250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7" name="円/楕円 118"/>
            <p:cNvSpPr/>
            <p:nvPr/>
          </p:nvSpPr>
          <p:spPr>
            <a:xfrm>
              <a:off x="6780213" y="95250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8" name="円/楕円 119"/>
            <p:cNvSpPr/>
            <p:nvPr/>
          </p:nvSpPr>
          <p:spPr>
            <a:xfrm>
              <a:off x="6996113" y="95250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79" name="円/楕円 120"/>
            <p:cNvSpPr/>
            <p:nvPr/>
          </p:nvSpPr>
          <p:spPr>
            <a:xfrm>
              <a:off x="5105400" y="118268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0" name="円/楕円 121"/>
            <p:cNvSpPr/>
            <p:nvPr/>
          </p:nvSpPr>
          <p:spPr>
            <a:xfrm>
              <a:off x="5321300" y="1182688"/>
              <a:ext cx="96838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1" name="円/楕円 122"/>
            <p:cNvSpPr/>
            <p:nvPr/>
          </p:nvSpPr>
          <p:spPr>
            <a:xfrm>
              <a:off x="5559425" y="118268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2" name="円/楕円 123"/>
            <p:cNvSpPr/>
            <p:nvPr/>
          </p:nvSpPr>
          <p:spPr>
            <a:xfrm>
              <a:off x="5775325" y="118268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3" name="円/楕円 124"/>
            <p:cNvSpPr/>
            <p:nvPr/>
          </p:nvSpPr>
          <p:spPr>
            <a:xfrm>
              <a:off x="6002338" y="118268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4" name="円/楕円 125"/>
            <p:cNvSpPr/>
            <p:nvPr/>
          </p:nvSpPr>
          <p:spPr>
            <a:xfrm>
              <a:off x="6218238" y="1182688"/>
              <a:ext cx="96837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5" name="円/楕円 126"/>
            <p:cNvSpPr/>
            <p:nvPr/>
          </p:nvSpPr>
          <p:spPr>
            <a:xfrm>
              <a:off x="6446838" y="1182688"/>
              <a:ext cx="96837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6" name="円/楕円 127"/>
            <p:cNvSpPr/>
            <p:nvPr/>
          </p:nvSpPr>
          <p:spPr>
            <a:xfrm>
              <a:off x="6661150" y="118268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7" name="円/楕円 128"/>
            <p:cNvSpPr/>
            <p:nvPr/>
          </p:nvSpPr>
          <p:spPr>
            <a:xfrm>
              <a:off x="6897688" y="1182688"/>
              <a:ext cx="96837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8" name="円/楕円 129"/>
            <p:cNvSpPr/>
            <p:nvPr/>
          </p:nvSpPr>
          <p:spPr>
            <a:xfrm>
              <a:off x="7112000" y="118268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89" name="円/楕円 130"/>
            <p:cNvSpPr/>
            <p:nvPr/>
          </p:nvSpPr>
          <p:spPr>
            <a:xfrm>
              <a:off x="5892800" y="1403350"/>
              <a:ext cx="98425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90" name="円/楕円 131"/>
            <p:cNvSpPr/>
            <p:nvPr/>
          </p:nvSpPr>
          <p:spPr>
            <a:xfrm>
              <a:off x="6108700" y="1403350"/>
              <a:ext cx="96838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91" name="円/楕円 132"/>
            <p:cNvSpPr/>
            <p:nvPr/>
          </p:nvSpPr>
          <p:spPr>
            <a:xfrm>
              <a:off x="6335713" y="1403350"/>
              <a:ext cx="98425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92" name="円/楕円 133"/>
            <p:cNvSpPr/>
            <p:nvPr/>
          </p:nvSpPr>
          <p:spPr>
            <a:xfrm>
              <a:off x="6551613" y="1403350"/>
              <a:ext cx="98425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93" name="円/楕円 134"/>
            <p:cNvSpPr/>
            <p:nvPr/>
          </p:nvSpPr>
          <p:spPr>
            <a:xfrm>
              <a:off x="6788150" y="1403350"/>
              <a:ext cx="96838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94" name="円/楕円 135"/>
            <p:cNvSpPr/>
            <p:nvPr/>
          </p:nvSpPr>
          <p:spPr>
            <a:xfrm>
              <a:off x="7002463" y="1403350"/>
              <a:ext cx="98425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26" name="テキスト ボックス 101"/>
            <p:cNvSpPr txBox="1"/>
            <p:nvPr/>
          </p:nvSpPr>
          <p:spPr>
            <a:xfrm>
              <a:off x="5953125" y="1031875"/>
              <a:ext cx="801688" cy="2778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1200" b="1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森林緑地</a:t>
              </a:r>
              <a:endParaRPr lang="ja-JP" altLang="en-US" sz="1200" b="1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96" name="正方形/長方形 94"/>
            <p:cNvSpPr/>
            <p:nvPr/>
          </p:nvSpPr>
          <p:spPr>
            <a:xfrm>
              <a:off x="1657350" y="2349500"/>
              <a:ext cx="1130300" cy="91757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28575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28" name="テキスト ボックス 2"/>
            <p:cNvSpPr txBox="1"/>
            <p:nvPr/>
          </p:nvSpPr>
          <p:spPr>
            <a:xfrm>
              <a:off x="1889125" y="2659063"/>
              <a:ext cx="709613" cy="31908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 anchor="ctr"/>
            <a:lstStyle/>
            <a:p>
              <a:pPr lvl="0" eaLnBrk="1" hangingPunct="1"/>
              <a:r>
                <a:rPr lang="en-US" altLang="ja-JP" b="1" dirty="0">
                  <a:latin typeface="MS PGothic" panose="020B0600070205080204" pitchFamily="34" charset="-128"/>
                  <a:ea typeface="MS PGothic" panose="020B0600070205080204" pitchFamily="34" charset="-128"/>
                </a:rPr>
                <a:t>D2</a:t>
              </a:r>
              <a:r>
                <a:rPr lang="ja-JP" altLang="en-US" b="1" dirty="0">
                  <a:latin typeface="MS PGothic" panose="020B0600070205080204" pitchFamily="34" charset="-128"/>
                  <a:ea typeface="MS PGothic" panose="020B0600070205080204" pitchFamily="34" charset="-128"/>
                </a:rPr>
                <a:t>棟</a:t>
              </a:r>
              <a:endParaRPr lang="ja-JP" altLang="en-US" b="1" dirty="0"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98" name="正方形/長方形 25"/>
            <p:cNvSpPr/>
            <p:nvPr/>
          </p:nvSpPr>
          <p:spPr>
            <a:xfrm>
              <a:off x="3152775" y="1312863"/>
              <a:ext cx="554038" cy="166211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30" name="テキスト ボックス 24"/>
            <p:cNvSpPr txBox="1"/>
            <p:nvPr/>
          </p:nvSpPr>
          <p:spPr>
            <a:xfrm rot="-5400000">
              <a:off x="3021010" y="1966910"/>
              <a:ext cx="804863" cy="338138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1600" b="1" dirty="0">
                  <a:latin typeface="MS PGothic" panose="020B0600070205080204" pitchFamily="34" charset="-128"/>
                  <a:ea typeface="MS PGothic" panose="020B0600070205080204" pitchFamily="34" charset="-128"/>
                </a:rPr>
                <a:t>厚生棟</a:t>
              </a:r>
              <a:endParaRPr lang="ja-JP" altLang="en-US" sz="1600" b="1" dirty="0"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00" name="正方形/長方形 95"/>
            <p:cNvSpPr/>
            <p:nvPr/>
          </p:nvSpPr>
          <p:spPr>
            <a:xfrm>
              <a:off x="4398963" y="2659063"/>
              <a:ext cx="420687" cy="280987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32" name="テキスト ボックス 99"/>
            <p:cNvSpPr txBox="1"/>
            <p:nvPr/>
          </p:nvSpPr>
          <p:spPr>
            <a:xfrm>
              <a:off x="3919538" y="2346325"/>
              <a:ext cx="255587" cy="2778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>
              <a:spAutoFit/>
            </a:bodyPr>
            <a:lstStyle/>
            <a:p>
              <a:pPr lvl="0" eaLnBrk="1" hangingPunct="1"/>
              <a:endParaRPr lang="ja-JP" altLang="en-US" sz="1200" b="1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5433" name="テキスト ボックス 68"/>
            <p:cNvSpPr txBox="1"/>
            <p:nvPr/>
          </p:nvSpPr>
          <p:spPr>
            <a:xfrm>
              <a:off x="4368800" y="2638425"/>
              <a:ext cx="546100" cy="338138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8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教育</a:t>
              </a:r>
              <a:endParaRPr lang="en-US" altLang="ja-JP" sz="8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  <a:p>
              <a:pPr lvl="0" eaLnBrk="1" hangingPunct="1"/>
              <a:r>
                <a:rPr lang="ja-JP" altLang="en-US" sz="8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センター</a:t>
              </a:r>
              <a:endParaRPr lang="ja-JP" altLang="en-US" sz="8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03" name="L 字 3"/>
            <p:cNvSpPr/>
            <p:nvPr/>
          </p:nvSpPr>
          <p:spPr>
            <a:xfrm flipH="1">
              <a:off x="3794125" y="2216150"/>
              <a:ext cx="630238" cy="723900"/>
            </a:xfrm>
            <a:prstGeom prst="corner">
              <a:avLst>
                <a:gd name="adj1" fmla="val 50000"/>
                <a:gd name="adj2" fmla="val 37893"/>
              </a:avLst>
            </a:prstGeom>
            <a:solidFill>
              <a:schemeClr val="bg1"/>
            </a:solidFill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5435" name="テキスト ボックス 40"/>
            <p:cNvSpPr txBox="1"/>
            <p:nvPr/>
          </p:nvSpPr>
          <p:spPr>
            <a:xfrm>
              <a:off x="3768725" y="2668588"/>
              <a:ext cx="698500" cy="246062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10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部品倉庫</a:t>
              </a:r>
              <a:endParaRPr lang="ja-JP" altLang="en-US" sz="10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05" name="フリーフォーム 4"/>
            <p:cNvSpPr/>
            <p:nvPr/>
          </p:nvSpPr>
          <p:spPr>
            <a:xfrm>
              <a:off x="3162300" y="990600"/>
              <a:ext cx="1668463" cy="1616075"/>
            </a:xfrm>
            <a:custGeom>
              <a:avLst/>
              <a:gdLst>
                <a:gd name="connsiteX0" fmla="*/ 0 w 1668780"/>
                <a:gd name="connsiteY0" fmla="*/ 251460 h 1615440"/>
                <a:gd name="connsiteX1" fmla="*/ 0 w 1668780"/>
                <a:gd name="connsiteY1" fmla="*/ 0 h 1615440"/>
                <a:gd name="connsiteX2" fmla="*/ 1501140 w 1668780"/>
                <a:gd name="connsiteY2" fmla="*/ 15240 h 1615440"/>
                <a:gd name="connsiteX3" fmla="*/ 1501140 w 1668780"/>
                <a:gd name="connsiteY3" fmla="*/ 15240 h 1615440"/>
                <a:gd name="connsiteX4" fmla="*/ 1607820 w 1668780"/>
                <a:gd name="connsiteY4" fmla="*/ 38100 h 1615440"/>
                <a:gd name="connsiteX5" fmla="*/ 1645920 w 1668780"/>
                <a:gd name="connsiteY5" fmla="*/ 91440 h 1615440"/>
                <a:gd name="connsiteX6" fmla="*/ 1661160 w 1668780"/>
                <a:gd name="connsiteY6" fmla="*/ 137160 h 1615440"/>
                <a:gd name="connsiteX7" fmla="*/ 1668780 w 1668780"/>
                <a:gd name="connsiteY7" fmla="*/ 160020 h 1615440"/>
                <a:gd name="connsiteX8" fmla="*/ 1661160 w 1668780"/>
                <a:gd name="connsiteY8" fmla="*/ 1615440 h 1615440"/>
                <a:gd name="connsiteX9" fmla="*/ 1333500 w 1668780"/>
                <a:gd name="connsiteY9" fmla="*/ 1615440 h 1615440"/>
                <a:gd name="connsiteX10" fmla="*/ 1333500 w 1668780"/>
                <a:gd name="connsiteY10" fmla="*/ 1165860 h 1615440"/>
                <a:gd name="connsiteX11" fmla="*/ 960120 w 1668780"/>
                <a:gd name="connsiteY11" fmla="*/ 1165860 h 1615440"/>
                <a:gd name="connsiteX12" fmla="*/ 960120 w 1668780"/>
                <a:gd name="connsiteY12" fmla="*/ 1562100 h 1615440"/>
                <a:gd name="connsiteX13" fmla="*/ 632460 w 1668780"/>
                <a:gd name="connsiteY13" fmla="*/ 1562100 h 1615440"/>
                <a:gd name="connsiteX14" fmla="*/ 632460 w 1668780"/>
                <a:gd name="connsiteY14" fmla="*/ 259080 h 1615440"/>
                <a:gd name="connsiteX15" fmla="*/ 0 w 1668780"/>
                <a:gd name="connsiteY15" fmla="*/ 251460 h 161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68780" h="1615440">
                  <a:moveTo>
                    <a:pt x="0" y="251460"/>
                  </a:moveTo>
                  <a:lnTo>
                    <a:pt x="0" y="0"/>
                  </a:lnTo>
                  <a:lnTo>
                    <a:pt x="1501140" y="15240"/>
                  </a:lnTo>
                  <a:lnTo>
                    <a:pt x="1501140" y="15240"/>
                  </a:lnTo>
                  <a:lnTo>
                    <a:pt x="1607820" y="38100"/>
                  </a:lnTo>
                  <a:lnTo>
                    <a:pt x="1645920" y="91440"/>
                  </a:lnTo>
                  <a:lnTo>
                    <a:pt x="1661160" y="137160"/>
                  </a:lnTo>
                  <a:lnTo>
                    <a:pt x="1668780" y="160020"/>
                  </a:lnTo>
                  <a:lnTo>
                    <a:pt x="1661160" y="1615440"/>
                  </a:lnTo>
                  <a:lnTo>
                    <a:pt x="1333500" y="1615440"/>
                  </a:lnTo>
                  <a:lnTo>
                    <a:pt x="1333500" y="1165860"/>
                  </a:lnTo>
                  <a:lnTo>
                    <a:pt x="960120" y="1165860"/>
                  </a:lnTo>
                  <a:lnTo>
                    <a:pt x="960120" y="1562100"/>
                  </a:lnTo>
                  <a:lnTo>
                    <a:pt x="632460" y="1562100"/>
                  </a:lnTo>
                  <a:lnTo>
                    <a:pt x="632460" y="259080"/>
                  </a:lnTo>
                  <a:lnTo>
                    <a:pt x="0" y="251460"/>
                  </a:ln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5437" name="テキスト ボックス 100"/>
            <p:cNvSpPr txBox="1"/>
            <p:nvPr/>
          </p:nvSpPr>
          <p:spPr>
            <a:xfrm>
              <a:off x="4060825" y="1516063"/>
              <a:ext cx="492125" cy="27622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1200" b="1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緑地</a:t>
              </a:r>
              <a:endParaRPr lang="ja-JP" altLang="en-US" sz="1200" b="1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07" name="円/楕円 149"/>
            <p:cNvSpPr/>
            <p:nvPr/>
          </p:nvSpPr>
          <p:spPr>
            <a:xfrm>
              <a:off x="1109663" y="313213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08" name="フリーフォーム 6"/>
            <p:cNvSpPr/>
            <p:nvPr/>
          </p:nvSpPr>
          <p:spPr>
            <a:xfrm>
              <a:off x="5816600" y="1555750"/>
              <a:ext cx="1898650" cy="1790700"/>
            </a:xfrm>
            <a:custGeom>
              <a:avLst/>
              <a:gdLst>
                <a:gd name="connsiteX0" fmla="*/ 1136650 w 1898650"/>
                <a:gd name="connsiteY0" fmla="*/ 0 h 1790700"/>
                <a:gd name="connsiteX1" fmla="*/ 1136650 w 1898650"/>
                <a:gd name="connsiteY1" fmla="*/ 1638300 h 1790700"/>
                <a:gd name="connsiteX2" fmla="*/ 0 w 1898650"/>
                <a:gd name="connsiteY2" fmla="*/ 1638300 h 1790700"/>
                <a:gd name="connsiteX3" fmla="*/ 0 w 1898650"/>
                <a:gd name="connsiteY3" fmla="*/ 1790700 h 1790700"/>
                <a:gd name="connsiteX4" fmla="*/ 1898650 w 1898650"/>
                <a:gd name="connsiteY4" fmla="*/ 1790700 h 1790700"/>
                <a:gd name="connsiteX5" fmla="*/ 1454150 w 1898650"/>
                <a:gd name="connsiteY5" fmla="*/ 0 h 1790700"/>
                <a:gd name="connsiteX6" fmla="*/ 1136650 w 1898650"/>
                <a:gd name="connsiteY6" fmla="*/ 0 h 1790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8650" h="1790700">
                  <a:moveTo>
                    <a:pt x="1136650" y="0"/>
                  </a:moveTo>
                  <a:lnTo>
                    <a:pt x="1136650" y="1638300"/>
                  </a:lnTo>
                  <a:lnTo>
                    <a:pt x="0" y="1638300"/>
                  </a:lnTo>
                  <a:lnTo>
                    <a:pt x="0" y="1790700"/>
                  </a:lnTo>
                  <a:lnTo>
                    <a:pt x="1898650" y="1790700"/>
                  </a:lnTo>
                  <a:lnTo>
                    <a:pt x="1454150" y="0"/>
                  </a:lnTo>
                  <a:lnTo>
                    <a:pt x="1136650" y="0"/>
                  </a:ln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09" name="正方形/長方形 156"/>
            <p:cNvSpPr/>
            <p:nvPr/>
          </p:nvSpPr>
          <p:spPr>
            <a:xfrm>
              <a:off x="5889625" y="3392488"/>
              <a:ext cx="411163" cy="254793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41" name="テキスト ボックス 14"/>
            <p:cNvSpPr txBox="1"/>
            <p:nvPr/>
          </p:nvSpPr>
          <p:spPr>
            <a:xfrm rot="-5400000">
              <a:off x="5651498" y="4471985"/>
              <a:ext cx="895350" cy="307975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lvl="0" algn="ctr" eaLnBrk="1" hangingPunct="1"/>
              <a:r>
                <a:rPr lang="ja-JP" altLang="en-US" sz="14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駐車場</a:t>
              </a:r>
              <a:endParaRPr lang="ja-JP" altLang="en-US" sz="14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11" name="正方形/長方形 7"/>
            <p:cNvSpPr/>
            <p:nvPr/>
          </p:nvSpPr>
          <p:spPr>
            <a:xfrm>
              <a:off x="3144838" y="5467350"/>
              <a:ext cx="150812" cy="30638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12" name="正方形/長方形 157"/>
            <p:cNvSpPr/>
            <p:nvPr/>
          </p:nvSpPr>
          <p:spPr>
            <a:xfrm>
              <a:off x="5532438" y="5778500"/>
              <a:ext cx="114300" cy="14922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13" name="フリーフォーム 8"/>
            <p:cNvSpPr/>
            <p:nvPr/>
          </p:nvSpPr>
          <p:spPr>
            <a:xfrm>
              <a:off x="2600325" y="1014413"/>
              <a:ext cx="333375" cy="595312"/>
            </a:xfrm>
            <a:custGeom>
              <a:avLst/>
              <a:gdLst>
                <a:gd name="connsiteX0" fmla="*/ 0 w 333375"/>
                <a:gd name="connsiteY0" fmla="*/ 523875 h 595312"/>
                <a:gd name="connsiteX1" fmla="*/ 0 w 333375"/>
                <a:gd name="connsiteY1" fmla="*/ 57150 h 595312"/>
                <a:gd name="connsiteX2" fmla="*/ 9525 w 333375"/>
                <a:gd name="connsiteY2" fmla="*/ 19050 h 595312"/>
                <a:gd name="connsiteX3" fmla="*/ 28575 w 333375"/>
                <a:gd name="connsiteY3" fmla="*/ 9525 h 595312"/>
                <a:gd name="connsiteX4" fmla="*/ 47625 w 333375"/>
                <a:gd name="connsiteY4" fmla="*/ 0 h 595312"/>
                <a:gd name="connsiteX5" fmla="*/ 223838 w 333375"/>
                <a:gd name="connsiteY5" fmla="*/ 0 h 595312"/>
                <a:gd name="connsiteX6" fmla="*/ 276225 w 333375"/>
                <a:gd name="connsiteY6" fmla="*/ 14287 h 595312"/>
                <a:gd name="connsiteX7" fmla="*/ 295275 w 333375"/>
                <a:gd name="connsiteY7" fmla="*/ 28575 h 595312"/>
                <a:gd name="connsiteX8" fmla="*/ 314325 w 333375"/>
                <a:gd name="connsiteY8" fmla="*/ 52387 h 595312"/>
                <a:gd name="connsiteX9" fmla="*/ 328613 w 333375"/>
                <a:gd name="connsiteY9" fmla="*/ 85725 h 595312"/>
                <a:gd name="connsiteX10" fmla="*/ 333375 w 333375"/>
                <a:gd name="connsiteY10" fmla="*/ 119062 h 595312"/>
                <a:gd name="connsiteX11" fmla="*/ 328613 w 333375"/>
                <a:gd name="connsiteY11" fmla="*/ 476250 h 595312"/>
                <a:gd name="connsiteX12" fmla="*/ 328613 w 333375"/>
                <a:gd name="connsiteY12" fmla="*/ 509587 h 595312"/>
                <a:gd name="connsiteX13" fmla="*/ 314325 w 333375"/>
                <a:gd name="connsiteY13" fmla="*/ 542925 h 595312"/>
                <a:gd name="connsiteX14" fmla="*/ 285750 w 333375"/>
                <a:gd name="connsiteY14" fmla="*/ 566737 h 595312"/>
                <a:gd name="connsiteX15" fmla="*/ 252413 w 333375"/>
                <a:gd name="connsiteY15" fmla="*/ 581025 h 595312"/>
                <a:gd name="connsiteX16" fmla="*/ 252413 w 333375"/>
                <a:gd name="connsiteY16" fmla="*/ 581025 h 595312"/>
                <a:gd name="connsiteX17" fmla="*/ 200025 w 333375"/>
                <a:gd name="connsiteY17" fmla="*/ 595312 h 595312"/>
                <a:gd name="connsiteX18" fmla="*/ 42863 w 333375"/>
                <a:gd name="connsiteY18" fmla="*/ 595312 h 595312"/>
                <a:gd name="connsiteX19" fmla="*/ 19050 w 333375"/>
                <a:gd name="connsiteY19" fmla="*/ 571500 h 595312"/>
                <a:gd name="connsiteX20" fmla="*/ 0 w 333375"/>
                <a:gd name="connsiteY20" fmla="*/ 523875 h 595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33375" h="595312">
                  <a:moveTo>
                    <a:pt x="0" y="523875"/>
                  </a:moveTo>
                  <a:lnTo>
                    <a:pt x="0" y="57150"/>
                  </a:lnTo>
                  <a:lnTo>
                    <a:pt x="9525" y="19050"/>
                  </a:lnTo>
                  <a:lnTo>
                    <a:pt x="28575" y="9525"/>
                  </a:lnTo>
                  <a:lnTo>
                    <a:pt x="47625" y="0"/>
                  </a:lnTo>
                  <a:lnTo>
                    <a:pt x="223838" y="0"/>
                  </a:lnTo>
                  <a:lnTo>
                    <a:pt x="276225" y="14287"/>
                  </a:lnTo>
                  <a:lnTo>
                    <a:pt x="295275" y="28575"/>
                  </a:lnTo>
                  <a:lnTo>
                    <a:pt x="314325" y="52387"/>
                  </a:lnTo>
                  <a:lnTo>
                    <a:pt x="328613" y="85725"/>
                  </a:lnTo>
                  <a:lnTo>
                    <a:pt x="333375" y="119062"/>
                  </a:lnTo>
                  <a:cubicBezTo>
                    <a:pt x="331788" y="238125"/>
                    <a:pt x="330200" y="357187"/>
                    <a:pt x="328613" y="476250"/>
                  </a:cubicBezTo>
                  <a:lnTo>
                    <a:pt x="328613" y="509587"/>
                  </a:lnTo>
                  <a:lnTo>
                    <a:pt x="314325" y="542925"/>
                  </a:lnTo>
                  <a:lnTo>
                    <a:pt x="285750" y="566737"/>
                  </a:lnTo>
                  <a:lnTo>
                    <a:pt x="252413" y="581025"/>
                  </a:lnTo>
                  <a:lnTo>
                    <a:pt x="252413" y="581025"/>
                  </a:lnTo>
                  <a:lnTo>
                    <a:pt x="200025" y="595312"/>
                  </a:lnTo>
                  <a:lnTo>
                    <a:pt x="42863" y="595312"/>
                  </a:lnTo>
                  <a:lnTo>
                    <a:pt x="19050" y="571500"/>
                  </a:lnTo>
                  <a:lnTo>
                    <a:pt x="0" y="523875"/>
                  </a:ln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14" name="角丸四角形 11"/>
            <p:cNvSpPr/>
            <p:nvPr/>
          </p:nvSpPr>
          <p:spPr>
            <a:xfrm>
              <a:off x="1509713" y="996950"/>
              <a:ext cx="1033462" cy="603250"/>
            </a:xfrm>
            <a:prstGeom prst="roundRect">
              <a:avLst/>
            </a:pr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15" name="正方形/長方形 12"/>
            <p:cNvSpPr/>
            <p:nvPr/>
          </p:nvSpPr>
          <p:spPr>
            <a:xfrm>
              <a:off x="1616075" y="1144588"/>
              <a:ext cx="817563" cy="325437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47" name="テキスト ボックス 26"/>
            <p:cNvSpPr txBox="1"/>
            <p:nvPr/>
          </p:nvSpPr>
          <p:spPr>
            <a:xfrm>
              <a:off x="1660525" y="1190625"/>
              <a:ext cx="720090" cy="3048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zh-CN" altLang="ja-JP" sz="1400" b="1" dirty="0">
                  <a:solidFill>
                    <a:srgbClr val="FF0000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羽乒馆</a:t>
              </a:r>
              <a:endParaRPr lang="zh-CN" altLang="ja-JP" sz="1400" b="1" dirty="0">
                <a:solidFill>
                  <a:srgbClr val="FF0000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17" name="正方形/長方形 158"/>
            <p:cNvSpPr/>
            <p:nvPr/>
          </p:nvSpPr>
          <p:spPr>
            <a:xfrm>
              <a:off x="3249613" y="3541713"/>
              <a:ext cx="388937" cy="143351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49" name="テキスト ボックス 23"/>
            <p:cNvSpPr txBox="1"/>
            <p:nvPr/>
          </p:nvSpPr>
          <p:spPr>
            <a:xfrm rot="-5400000">
              <a:off x="2940050" y="4098925"/>
              <a:ext cx="1019175" cy="276225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lvl="0" algn="ctr" eaLnBrk="1" hangingPunct="1"/>
              <a:r>
                <a:rPr lang="en-US" altLang="ja-JP" sz="12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D1</a:t>
              </a:r>
              <a:r>
                <a:rPr lang="ja-JP" altLang="en-US" sz="12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動力棟</a:t>
              </a:r>
              <a:endParaRPr lang="ja-JP" altLang="en-US" sz="12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19" name="正方形/長方形 159"/>
            <p:cNvSpPr/>
            <p:nvPr/>
          </p:nvSpPr>
          <p:spPr>
            <a:xfrm>
              <a:off x="3154363" y="3181350"/>
              <a:ext cx="484187" cy="166688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20" name="正方形/長方形 160"/>
            <p:cNvSpPr/>
            <p:nvPr/>
          </p:nvSpPr>
          <p:spPr>
            <a:xfrm>
              <a:off x="3198813" y="3348038"/>
              <a:ext cx="439737" cy="122237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52" name="テキスト ボックス 161"/>
            <p:cNvSpPr txBox="1"/>
            <p:nvPr/>
          </p:nvSpPr>
          <p:spPr>
            <a:xfrm>
              <a:off x="3116263" y="3163888"/>
              <a:ext cx="569912" cy="1841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6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廃棄物倉庫</a:t>
              </a:r>
              <a:endParaRPr lang="ja-JP" altLang="en-US" sz="6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5453" name="テキスト ボックス 162"/>
            <p:cNvSpPr txBox="1"/>
            <p:nvPr/>
          </p:nvSpPr>
          <p:spPr>
            <a:xfrm>
              <a:off x="3241675" y="3309938"/>
              <a:ext cx="338138" cy="1841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6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倉庫</a:t>
              </a:r>
              <a:endParaRPr lang="ja-JP" altLang="en-US" sz="6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23" name="正方形/長方形 163"/>
            <p:cNvSpPr/>
            <p:nvPr/>
          </p:nvSpPr>
          <p:spPr>
            <a:xfrm>
              <a:off x="3798888" y="2974975"/>
              <a:ext cx="217487" cy="209550"/>
            </a:xfrm>
            <a:prstGeom prst="rect">
              <a:avLst/>
            </a:prstGeom>
            <a:solidFill>
              <a:schemeClr val="bg2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24" name="正方形/長方形 164"/>
            <p:cNvSpPr/>
            <p:nvPr/>
          </p:nvSpPr>
          <p:spPr>
            <a:xfrm>
              <a:off x="4065588" y="3348038"/>
              <a:ext cx="201612" cy="388937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56" name="テキスト ボックス 165"/>
            <p:cNvSpPr txBox="1"/>
            <p:nvPr/>
          </p:nvSpPr>
          <p:spPr>
            <a:xfrm rot="-5400000">
              <a:off x="3952079" y="3442491"/>
              <a:ext cx="415925" cy="185738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6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薬品庫</a:t>
              </a:r>
              <a:endParaRPr lang="ja-JP" altLang="en-US" sz="6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5457" name="テキスト ボックス 166"/>
            <p:cNvSpPr txBox="1"/>
            <p:nvPr/>
          </p:nvSpPr>
          <p:spPr>
            <a:xfrm>
              <a:off x="3721100" y="2994025"/>
              <a:ext cx="381000" cy="18415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eaLnBrk="1" hangingPunct="1"/>
              <a:r>
                <a:rPr lang="ja-JP" altLang="en-US" sz="6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ゲート</a:t>
              </a:r>
              <a:endParaRPr lang="ja-JP" altLang="en-US" sz="6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27" name="角丸四角形 13"/>
            <p:cNvSpPr/>
            <p:nvPr/>
          </p:nvSpPr>
          <p:spPr>
            <a:xfrm>
              <a:off x="1403350" y="4135438"/>
              <a:ext cx="117475" cy="552450"/>
            </a:xfrm>
            <a:prstGeom prst="roundRect">
              <a:avLst>
                <a:gd name="adj" fmla="val 50000"/>
              </a:avLst>
            </a:pr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28" name="フリーフォーム 16"/>
            <p:cNvSpPr/>
            <p:nvPr/>
          </p:nvSpPr>
          <p:spPr>
            <a:xfrm>
              <a:off x="1511300" y="3276600"/>
              <a:ext cx="139700" cy="1085850"/>
            </a:xfrm>
            <a:custGeom>
              <a:avLst/>
              <a:gdLst>
                <a:gd name="connsiteX0" fmla="*/ 130175 w 139700"/>
                <a:gd name="connsiteY0" fmla="*/ 1085850 h 1085850"/>
                <a:gd name="connsiteX1" fmla="*/ 82550 w 139700"/>
                <a:gd name="connsiteY1" fmla="*/ 1063625 h 1085850"/>
                <a:gd name="connsiteX2" fmla="*/ 73025 w 139700"/>
                <a:gd name="connsiteY2" fmla="*/ 1050925 h 1085850"/>
                <a:gd name="connsiteX3" fmla="*/ 73025 w 139700"/>
                <a:gd name="connsiteY3" fmla="*/ 892175 h 1085850"/>
                <a:gd name="connsiteX4" fmla="*/ 66675 w 139700"/>
                <a:gd name="connsiteY4" fmla="*/ 863600 h 1085850"/>
                <a:gd name="connsiteX5" fmla="*/ 31750 w 139700"/>
                <a:gd name="connsiteY5" fmla="*/ 822325 h 1085850"/>
                <a:gd name="connsiteX6" fmla="*/ 15875 w 139700"/>
                <a:gd name="connsiteY6" fmla="*/ 800100 h 1085850"/>
                <a:gd name="connsiteX7" fmla="*/ 0 w 139700"/>
                <a:gd name="connsiteY7" fmla="*/ 762000 h 1085850"/>
                <a:gd name="connsiteX8" fmla="*/ 0 w 139700"/>
                <a:gd name="connsiteY8" fmla="*/ 742950 h 1085850"/>
                <a:gd name="connsiteX9" fmla="*/ 0 w 139700"/>
                <a:gd name="connsiteY9" fmla="*/ 0 h 1085850"/>
                <a:gd name="connsiteX10" fmla="*/ 139700 w 139700"/>
                <a:gd name="connsiteY10" fmla="*/ 0 h 1085850"/>
                <a:gd name="connsiteX11" fmla="*/ 130175 w 139700"/>
                <a:gd name="connsiteY11" fmla="*/ 1085850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9700" h="1085850">
                  <a:moveTo>
                    <a:pt x="130175" y="1085850"/>
                  </a:moveTo>
                  <a:lnTo>
                    <a:pt x="82550" y="1063625"/>
                  </a:lnTo>
                  <a:lnTo>
                    <a:pt x="73025" y="1050925"/>
                  </a:lnTo>
                  <a:lnTo>
                    <a:pt x="73025" y="892175"/>
                  </a:lnTo>
                  <a:lnTo>
                    <a:pt x="66675" y="863600"/>
                  </a:lnTo>
                  <a:lnTo>
                    <a:pt x="31750" y="822325"/>
                  </a:lnTo>
                  <a:lnTo>
                    <a:pt x="15875" y="800100"/>
                  </a:lnTo>
                  <a:lnTo>
                    <a:pt x="0" y="762000"/>
                  </a:lnTo>
                  <a:lnTo>
                    <a:pt x="0" y="742950"/>
                  </a:lnTo>
                  <a:lnTo>
                    <a:pt x="0" y="0"/>
                  </a:lnTo>
                  <a:lnTo>
                    <a:pt x="139700" y="0"/>
                  </a:lnTo>
                  <a:cubicBezTo>
                    <a:pt x="138642" y="360892"/>
                    <a:pt x="137583" y="721783"/>
                    <a:pt x="130175" y="1085850"/>
                  </a:cubicBez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29" name="フリーフォーム 17"/>
            <p:cNvSpPr/>
            <p:nvPr/>
          </p:nvSpPr>
          <p:spPr>
            <a:xfrm>
              <a:off x="1393825" y="4467225"/>
              <a:ext cx="261938" cy="838200"/>
            </a:xfrm>
            <a:custGeom>
              <a:avLst/>
              <a:gdLst>
                <a:gd name="connsiteX0" fmla="*/ 257175 w 262345"/>
                <a:gd name="connsiteY0" fmla="*/ 838200 h 838200"/>
                <a:gd name="connsiteX1" fmla="*/ 98425 w 262345"/>
                <a:gd name="connsiteY1" fmla="*/ 838200 h 838200"/>
                <a:gd name="connsiteX2" fmla="*/ 47625 w 262345"/>
                <a:gd name="connsiteY2" fmla="*/ 822325 h 838200"/>
                <a:gd name="connsiteX3" fmla="*/ 19050 w 262345"/>
                <a:gd name="connsiteY3" fmla="*/ 787400 h 838200"/>
                <a:gd name="connsiteX4" fmla="*/ 0 w 262345"/>
                <a:gd name="connsiteY4" fmla="*/ 739775 h 838200"/>
                <a:gd name="connsiteX5" fmla="*/ 6350 w 262345"/>
                <a:gd name="connsiteY5" fmla="*/ 336550 h 838200"/>
                <a:gd name="connsiteX6" fmla="*/ 25400 w 262345"/>
                <a:gd name="connsiteY6" fmla="*/ 307975 h 838200"/>
                <a:gd name="connsiteX7" fmla="*/ 44450 w 262345"/>
                <a:gd name="connsiteY7" fmla="*/ 295275 h 838200"/>
                <a:gd name="connsiteX8" fmla="*/ 53975 w 262345"/>
                <a:gd name="connsiteY8" fmla="*/ 288925 h 838200"/>
                <a:gd name="connsiteX9" fmla="*/ 82550 w 262345"/>
                <a:gd name="connsiteY9" fmla="*/ 288925 h 838200"/>
                <a:gd name="connsiteX10" fmla="*/ 98425 w 262345"/>
                <a:gd name="connsiteY10" fmla="*/ 285750 h 838200"/>
                <a:gd name="connsiteX11" fmla="*/ 127000 w 262345"/>
                <a:gd name="connsiteY11" fmla="*/ 273050 h 838200"/>
                <a:gd name="connsiteX12" fmla="*/ 158750 w 262345"/>
                <a:gd name="connsiteY12" fmla="*/ 250825 h 838200"/>
                <a:gd name="connsiteX13" fmla="*/ 168275 w 262345"/>
                <a:gd name="connsiteY13" fmla="*/ 228600 h 838200"/>
                <a:gd name="connsiteX14" fmla="*/ 187325 w 262345"/>
                <a:gd name="connsiteY14" fmla="*/ 196850 h 838200"/>
                <a:gd name="connsiteX15" fmla="*/ 190500 w 262345"/>
                <a:gd name="connsiteY15" fmla="*/ 184150 h 838200"/>
                <a:gd name="connsiteX16" fmla="*/ 184150 w 262345"/>
                <a:gd name="connsiteY16" fmla="*/ 31750 h 838200"/>
                <a:gd name="connsiteX17" fmla="*/ 196850 w 262345"/>
                <a:gd name="connsiteY17" fmla="*/ 12700 h 838200"/>
                <a:gd name="connsiteX18" fmla="*/ 206375 w 262345"/>
                <a:gd name="connsiteY18" fmla="*/ 3175 h 838200"/>
                <a:gd name="connsiteX19" fmla="*/ 260350 w 262345"/>
                <a:gd name="connsiteY19" fmla="*/ 0 h 838200"/>
                <a:gd name="connsiteX20" fmla="*/ 257175 w 262345"/>
                <a:gd name="connsiteY20" fmla="*/ 838200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2345" h="838200">
                  <a:moveTo>
                    <a:pt x="257175" y="838200"/>
                  </a:moveTo>
                  <a:lnTo>
                    <a:pt x="98425" y="838200"/>
                  </a:lnTo>
                  <a:lnTo>
                    <a:pt x="47625" y="822325"/>
                  </a:lnTo>
                  <a:lnTo>
                    <a:pt x="19050" y="787400"/>
                  </a:lnTo>
                  <a:lnTo>
                    <a:pt x="0" y="739775"/>
                  </a:lnTo>
                  <a:cubicBezTo>
                    <a:pt x="2117" y="605367"/>
                    <a:pt x="4233" y="470958"/>
                    <a:pt x="6350" y="336550"/>
                  </a:cubicBezTo>
                  <a:lnTo>
                    <a:pt x="25400" y="307975"/>
                  </a:lnTo>
                  <a:lnTo>
                    <a:pt x="44450" y="295275"/>
                  </a:lnTo>
                  <a:lnTo>
                    <a:pt x="53975" y="288925"/>
                  </a:lnTo>
                  <a:lnTo>
                    <a:pt x="82550" y="288925"/>
                  </a:lnTo>
                  <a:lnTo>
                    <a:pt x="98425" y="285750"/>
                  </a:lnTo>
                  <a:lnTo>
                    <a:pt x="127000" y="273050"/>
                  </a:lnTo>
                  <a:lnTo>
                    <a:pt x="158750" y="250825"/>
                  </a:lnTo>
                  <a:lnTo>
                    <a:pt x="168275" y="228600"/>
                  </a:lnTo>
                  <a:lnTo>
                    <a:pt x="187325" y="196850"/>
                  </a:lnTo>
                  <a:lnTo>
                    <a:pt x="190500" y="184150"/>
                  </a:lnTo>
                  <a:lnTo>
                    <a:pt x="184150" y="31750"/>
                  </a:lnTo>
                  <a:lnTo>
                    <a:pt x="196850" y="12700"/>
                  </a:lnTo>
                  <a:lnTo>
                    <a:pt x="206375" y="3175"/>
                  </a:lnTo>
                  <a:lnTo>
                    <a:pt x="260350" y="0"/>
                  </a:lnTo>
                  <a:cubicBezTo>
                    <a:pt x="262467" y="278342"/>
                    <a:pt x="264583" y="556683"/>
                    <a:pt x="257175" y="838200"/>
                  </a:cubicBez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30" name="正方形/長方形 168"/>
            <p:cNvSpPr/>
            <p:nvPr/>
          </p:nvSpPr>
          <p:spPr>
            <a:xfrm>
              <a:off x="1657350" y="1819275"/>
              <a:ext cx="1276350" cy="53022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462" name="テキスト ボックス 22"/>
            <p:cNvSpPr txBox="1"/>
            <p:nvPr/>
          </p:nvSpPr>
          <p:spPr>
            <a:xfrm>
              <a:off x="1958975" y="1852613"/>
              <a:ext cx="647700" cy="46037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>
              <a:spAutoFit/>
            </a:bodyPr>
            <a:lstStyle/>
            <a:p>
              <a:pPr lvl="0" algn="ctr" eaLnBrk="1" hangingPunct="1"/>
              <a:r>
                <a:rPr lang="en-US" altLang="ja-JP" sz="12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D2</a:t>
              </a:r>
              <a:endParaRPr lang="en-US" altLang="ja-JP" sz="12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  <a:p>
              <a:pPr lvl="0" algn="ctr" eaLnBrk="1" hangingPunct="1"/>
              <a:r>
                <a:rPr lang="ja-JP" altLang="en-US" sz="1200" dirty="0">
                  <a:solidFill>
                    <a:srgbClr val="0000FF"/>
                  </a:solidFill>
                  <a:latin typeface="MS PGothic" panose="020B0600070205080204" pitchFamily="34" charset="-128"/>
                  <a:ea typeface="MS PGothic" panose="020B0600070205080204" pitchFamily="34" charset="-128"/>
                </a:rPr>
                <a:t>動力棟</a:t>
              </a:r>
              <a:endParaRPr lang="ja-JP" altLang="en-US" sz="1200" dirty="0">
                <a:solidFill>
                  <a:srgbClr val="0000FF"/>
                </a:solidFill>
                <a:latin typeface="MS PGothic" panose="020B0600070205080204" pitchFamily="34" charset="-128"/>
                <a:ea typeface="MS PGothic" panose="020B0600070205080204" pitchFamily="34" charset="-128"/>
              </a:endParaRPr>
            </a:p>
          </p:txBody>
        </p:sp>
        <p:sp>
          <p:nvSpPr>
            <p:cNvPr id="132" name="フリーフォーム 36"/>
            <p:cNvSpPr/>
            <p:nvPr/>
          </p:nvSpPr>
          <p:spPr>
            <a:xfrm>
              <a:off x="1111250" y="3043238"/>
              <a:ext cx="1854200" cy="2832100"/>
            </a:xfrm>
            <a:custGeom>
              <a:avLst/>
              <a:gdLst>
                <a:gd name="connsiteX0" fmla="*/ 1841500 w 1854200"/>
                <a:gd name="connsiteY0" fmla="*/ 2755900 h 2832100"/>
                <a:gd name="connsiteX1" fmla="*/ 1847850 w 1854200"/>
                <a:gd name="connsiteY1" fmla="*/ 2374900 h 2832100"/>
                <a:gd name="connsiteX2" fmla="*/ 406400 w 1854200"/>
                <a:gd name="connsiteY2" fmla="*/ 2374900 h 2832100"/>
                <a:gd name="connsiteX3" fmla="*/ 323850 w 1854200"/>
                <a:gd name="connsiteY3" fmla="*/ 2355850 h 2832100"/>
                <a:gd name="connsiteX4" fmla="*/ 285750 w 1854200"/>
                <a:gd name="connsiteY4" fmla="*/ 2336800 h 2832100"/>
                <a:gd name="connsiteX5" fmla="*/ 254000 w 1854200"/>
                <a:gd name="connsiteY5" fmla="*/ 2305050 h 2832100"/>
                <a:gd name="connsiteX6" fmla="*/ 241300 w 1854200"/>
                <a:gd name="connsiteY6" fmla="*/ 2273300 h 2832100"/>
                <a:gd name="connsiteX7" fmla="*/ 228600 w 1854200"/>
                <a:gd name="connsiteY7" fmla="*/ 2247900 h 2832100"/>
                <a:gd name="connsiteX8" fmla="*/ 215900 w 1854200"/>
                <a:gd name="connsiteY8" fmla="*/ 2216150 h 2832100"/>
                <a:gd name="connsiteX9" fmla="*/ 209550 w 1854200"/>
                <a:gd name="connsiteY9" fmla="*/ 2190750 h 2832100"/>
                <a:gd name="connsiteX10" fmla="*/ 215900 w 1854200"/>
                <a:gd name="connsiteY10" fmla="*/ 1174750 h 2832100"/>
                <a:gd name="connsiteX11" fmla="*/ 215900 w 1854200"/>
                <a:gd name="connsiteY11" fmla="*/ 1143000 h 2832100"/>
                <a:gd name="connsiteX12" fmla="*/ 215900 w 1854200"/>
                <a:gd name="connsiteY12" fmla="*/ 1111250 h 2832100"/>
                <a:gd name="connsiteX13" fmla="*/ 228600 w 1854200"/>
                <a:gd name="connsiteY13" fmla="*/ 1085850 h 2832100"/>
                <a:gd name="connsiteX14" fmla="*/ 254000 w 1854200"/>
                <a:gd name="connsiteY14" fmla="*/ 1054100 h 2832100"/>
                <a:gd name="connsiteX15" fmla="*/ 266700 w 1854200"/>
                <a:gd name="connsiteY15" fmla="*/ 1035050 h 2832100"/>
                <a:gd name="connsiteX16" fmla="*/ 285750 w 1854200"/>
                <a:gd name="connsiteY16" fmla="*/ 1016000 h 2832100"/>
                <a:gd name="connsiteX17" fmla="*/ 292100 w 1854200"/>
                <a:gd name="connsiteY17" fmla="*/ 996950 h 2832100"/>
                <a:gd name="connsiteX18" fmla="*/ 292100 w 1854200"/>
                <a:gd name="connsiteY18" fmla="*/ 844550 h 2832100"/>
                <a:gd name="connsiteX19" fmla="*/ 285750 w 1854200"/>
                <a:gd name="connsiteY19" fmla="*/ 838200 h 2832100"/>
                <a:gd name="connsiteX20" fmla="*/ 279400 w 1854200"/>
                <a:gd name="connsiteY20" fmla="*/ 825500 h 2832100"/>
                <a:gd name="connsiteX21" fmla="*/ 273050 w 1854200"/>
                <a:gd name="connsiteY21" fmla="*/ 825500 h 2832100"/>
                <a:gd name="connsiteX22" fmla="*/ 209550 w 1854200"/>
                <a:gd name="connsiteY22" fmla="*/ 825500 h 2832100"/>
                <a:gd name="connsiteX23" fmla="*/ 196850 w 1854200"/>
                <a:gd name="connsiteY23" fmla="*/ 419100 h 2832100"/>
                <a:gd name="connsiteX24" fmla="*/ 273050 w 1854200"/>
                <a:gd name="connsiteY24" fmla="*/ 425450 h 2832100"/>
                <a:gd name="connsiteX25" fmla="*/ 273050 w 1854200"/>
                <a:gd name="connsiteY25" fmla="*/ 425450 h 2832100"/>
                <a:gd name="connsiteX26" fmla="*/ 292100 w 1854200"/>
                <a:gd name="connsiteY26" fmla="*/ 406400 h 2832100"/>
                <a:gd name="connsiteX27" fmla="*/ 292100 w 1854200"/>
                <a:gd name="connsiteY27" fmla="*/ 0 h 2832100"/>
                <a:gd name="connsiteX28" fmla="*/ 76200 w 1854200"/>
                <a:gd name="connsiteY28" fmla="*/ 0 h 2832100"/>
                <a:gd name="connsiteX29" fmla="*/ 0 w 1854200"/>
                <a:gd name="connsiteY29" fmla="*/ 69850 h 2832100"/>
                <a:gd name="connsiteX30" fmla="*/ 6350 w 1854200"/>
                <a:gd name="connsiteY30" fmla="*/ 2139950 h 2832100"/>
                <a:gd name="connsiteX31" fmla="*/ 6350 w 1854200"/>
                <a:gd name="connsiteY31" fmla="*/ 2260600 h 2832100"/>
                <a:gd name="connsiteX32" fmla="*/ 25400 w 1854200"/>
                <a:gd name="connsiteY32" fmla="*/ 2393950 h 2832100"/>
                <a:gd name="connsiteX33" fmla="*/ 69850 w 1854200"/>
                <a:gd name="connsiteY33" fmla="*/ 2520950 h 2832100"/>
                <a:gd name="connsiteX34" fmla="*/ 120650 w 1854200"/>
                <a:gd name="connsiteY34" fmla="*/ 2590800 h 2832100"/>
                <a:gd name="connsiteX35" fmla="*/ 171450 w 1854200"/>
                <a:gd name="connsiteY35" fmla="*/ 2635250 h 2832100"/>
                <a:gd name="connsiteX36" fmla="*/ 266700 w 1854200"/>
                <a:gd name="connsiteY36" fmla="*/ 2705100 h 2832100"/>
                <a:gd name="connsiteX37" fmla="*/ 330200 w 1854200"/>
                <a:gd name="connsiteY37" fmla="*/ 2730500 h 2832100"/>
                <a:gd name="connsiteX38" fmla="*/ 438150 w 1854200"/>
                <a:gd name="connsiteY38" fmla="*/ 2774950 h 2832100"/>
                <a:gd name="connsiteX39" fmla="*/ 527050 w 1854200"/>
                <a:gd name="connsiteY39" fmla="*/ 2781300 h 2832100"/>
                <a:gd name="connsiteX40" fmla="*/ 635000 w 1854200"/>
                <a:gd name="connsiteY40" fmla="*/ 2781300 h 2832100"/>
                <a:gd name="connsiteX41" fmla="*/ 1847850 w 1854200"/>
                <a:gd name="connsiteY41" fmla="*/ 2832100 h 2832100"/>
                <a:gd name="connsiteX42" fmla="*/ 1854200 w 1854200"/>
                <a:gd name="connsiteY42" fmla="*/ 2806700 h 2832100"/>
                <a:gd name="connsiteX43" fmla="*/ 1841500 w 1854200"/>
                <a:gd name="connsiteY43" fmla="*/ 2755900 h 283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854200" h="2832100">
                  <a:moveTo>
                    <a:pt x="1841500" y="2755900"/>
                  </a:moveTo>
                  <a:lnTo>
                    <a:pt x="1847850" y="2374900"/>
                  </a:lnTo>
                  <a:lnTo>
                    <a:pt x="406400" y="2374900"/>
                  </a:lnTo>
                  <a:lnTo>
                    <a:pt x="323850" y="2355850"/>
                  </a:lnTo>
                  <a:lnTo>
                    <a:pt x="285750" y="2336800"/>
                  </a:lnTo>
                  <a:lnTo>
                    <a:pt x="254000" y="2305050"/>
                  </a:lnTo>
                  <a:lnTo>
                    <a:pt x="241300" y="2273300"/>
                  </a:lnTo>
                  <a:lnTo>
                    <a:pt x="228600" y="2247900"/>
                  </a:lnTo>
                  <a:lnTo>
                    <a:pt x="215900" y="2216150"/>
                  </a:lnTo>
                  <a:lnTo>
                    <a:pt x="209550" y="2190750"/>
                  </a:lnTo>
                  <a:cubicBezTo>
                    <a:pt x="211667" y="1852083"/>
                    <a:pt x="213783" y="1513417"/>
                    <a:pt x="215900" y="1174750"/>
                  </a:cubicBezTo>
                  <a:lnTo>
                    <a:pt x="215900" y="1143000"/>
                  </a:lnTo>
                  <a:lnTo>
                    <a:pt x="215900" y="1111250"/>
                  </a:lnTo>
                  <a:lnTo>
                    <a:pt x="228600" y="1085850"/>
                  </a:lnTo>
                  <a:lnTo>
                    <a:pt x="254000" y="1054100"/>
                  </a:lnTo>
                  <a:lnTo>
                    <a:pt x="266700" y="1035050"/>
                  </a:lnTo>
                  <a:lnTo>
                    <a:pt x="285750" y="1016000"/>
                  </a:lnTo>
                  <a:lnTo>
                    <a:pt x="292100" y="996950"/>
                  </a:lnTo>
                  <a:lnTo>
                    <a:pt x="292100" y="844550"/>
                  </a:lnTo>
                  <a:lnTo>
                    <a:pt x="285750" y="838200"/>
                  </a:lnTo>
                  <a:lnTo>
                    <a:pt x="279400" y="825500"/>
                  </a:lnTo>
                  <a:lnTo>
                    <a:pt x="273050" y="825500"/>
                  </a:lnTo>
                  <a:lnTo>
                    <a:pt x="209550" y="825500"/>
                  </a:lnTo>
                  <a:lnTo>
                    <a:pt x="196850" y="419100"/>
                  </a:lnTo>
                  <a:lnTo>
                    <a:pt x="273050" y="425450"/>
                  </a:lnTo>
                  <a:lnTo>
                    <a:pt x="273050" y="425450"/>
                  </a:lnTo>
                  <a:lnTo>
                    <a:pt x="292100" y="406400"/>
                  </a:lnTo>
                  <a:lnTo>
                    <a:pt x="292100" y="0"/>
                  </a:lnTo>
                  <a:lnTo>
                    <a:pt x="76200" y="0"/>
                  </a:lnTo>
                  <a:lnTo>
                    <a:pt x="0" y="69850"/>
                  </a:lnTo>
                  <a:cubicBezTo>
                    <a:pt x="2117" y="759883"/>
                    <a:pt x="4233" y="1449917"/>
                    <a:pt x="6350" y="2139950"/>
                  </a:cubicBezTo>
                  <a:lnTo>
                    <a:pt x="6350" y="2260600"/>
                  </a:lnTo>
                  <a:lnTo>
                    <a:pt x="25400" y="2393950"/>
                  </a:lnTo>
                  <a:lnTo>
                    <a:pt x="69850" y="2520950"/>
                  </a:lnTo>
                  <a:lnTo>
                    <a:pt x="120650" y="2590800"/>
                  </a:lnTo>
                  <a:lnTo>
                    <a:pt x="171450" y="2635250"/>
                  </a:lnTo>
                  <a:lnTo>
                    <a:pt x="266700" y="2705100"/>
                  </a:lnTo>
                  <a:lnTo>
                    <a:pt x="330200" y="2730500"/>
                  </a:lnTo>
                  <a:lnTo>
                    <a:pt x="438150" y="2774950"/>
                  </a:lnTo>
                  <a:lnTo>
                    <a:pt x="527050" y="2781300"/>
                  </a:lnTo>
                  <a:lnTo>
                    <a:pt x="635000" y="2781300"/>
                  </a:lnTo>
                  <a:lnTo>
                    <a:pt x="1847850" y="2832100"/>
                  </a:lnTo>
                  <a:lnTo>
                    <a:pt x="1854200" y="2806700"/>
                  </a:lnTo>
                  <a:lnTo>
                    <a:pt x="1841500" y="2755900"/>
                  </a:ln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33" name="円/楕円 136"/>
            <p:cNvSpPr/>
            <p:nvPr/>
          </p:nvSpPr>
          <p:spPr>
            <a:xfrm>
              <a:off x="2301875" y="5654675"/>
              <a:ext cx="98425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34" name="円/楕円 137"/>
            <p:cNvSpPr/>
            <p:nvPr/>
          </p:nvSpPr>
          <p:spPr>
            <a:xfrm>
              <a:off x="1976438" y="5654675"/>
              <a:ext cx="96837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35" name="円/楕円 138"/>
            <p:cNvSpPr/>
            <p:nvPr/>
          </p:nvSpPr>
          <p:spPr>
            <a:xfrm>
              <a:off x="1708150" y="5654675"/>
              <a:ext cx="96838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36" name="円/楕円 139"/>
            <p:cNvSpPr/>
            <p:nvPr/>
          </p:nvSpPr>
          <p:spPr>
            <a:xfrm>
              <a:off x="1463675" y="559435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37" name="円/楕円 140"/>
            <p:cNvSpPr/>
            <p:nvPr/>
          </p:nvSpPr>
          <p:spPr>
            <a:xfrm>
              <a:off x="1258888" y="5467350"/>
              <a:ext cx="96837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38" name="円/楕円 141"/>
            <p:cNvSpPr/>
            <p:nvPr/>
          </p:nvSpPr>
          <p:spPr>
            <a:xfrm>
              <a:off x="1160463" y="525145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39" name="円/楕円 142"/>
            <p:cNvSpPr/>
            <p:nvPr/>
          </p:nvSpPr>
          <p:spPr>
            <a:xfrm>
              <a:off x="1111250" y="5035550"/>
              <a:ext cx="98425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40" name="円/楕円 143"/>
            <p:cNvSpPr/>
            <p:nvPr/>
          </p:nvSpPr>
          <p:spPr>
            <a:xfrm>
              <a:off x="1111250" y="475615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41" name="円/楕円 144"/>
            <p:cNvSpPr/>
            <p:nvPr/>
          </p:nvSpPr>
          <p:spPr>
            <a:xfrm>
              <a:off x="1111250" y="450373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42" name="円/楕円 145"/>
            <p:cNvSpPr/>
            <p:nvPr/>
          </p:nvSpPr>
          <p:spPr>
            <a:xfrm>
              <a:off x="1109663" y="421798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43" name="円/楕円 146"/>
            <p:cNvSpPr/>
            <p:nvPr/>
          </p:nvSpPr>
          <p:spPr>
            <a:xfrm>
              <a:off x="1109663" y="3952875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44" name="円/楕円 147"/>
            <p:cNvSpPr/>
            <p:nvPr/>
          </p:nvSpPr>
          <p:spPr>
            <a:xfrm>
              <a:off x="1109663" y="3689350"/>
              <a:ext cx="98425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45" name="円/楕円 148"/>
            <p:cNvSpPr/>
            <p:nvPr/>
          </p:nvSpPr>
          <p:spPr>
            <a:xfrm>
              <a:off x="1109663" y="3348038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46" name="フリーフォーム 38"/>
            <p:cNvSpPr/>
            <p:nvPr/>
          </p:nvSpPr>
          <p:spPr>
            <a:xfrm>
              <a:off x="1117600" y="808038"/>
              <a:ext cx="285750" cy="2217737"/>
            </a:xfrm>
            <a:custGeom>
              <a:avLst/>
              <a:gdLst>
                <a:gd name="connsiteX0" fmla="*/ 285750 w 285750"/>
                <a:gd name="connsiteY0" fmla="*/ 2216150 h 2222500"/>
                <a:gd name="connsiteX1" fmla="*/ 279400 w 285750"/>
                <a:gd name="connsiteY1" fmla="*/ 1098550 h 2222500"/>
                <a:gd name="connsiteX2" fmla="*/ 95250 w 285750"/>
                <a:gd name="connsiteY2" fmla="*/ 1098550 h 2222500"/>
                <a:gd name="connsiteX3" fmla="*/ 82550 w 285750"/>
                <a:gd name="connsiteY3" fmla="*/ 438150 h 2222500"/>
                <a:gd name="connsiteX4" fmla="*/ 260350 w 285750"/>
                <a:gd name="connsiteY4" fmla="*/ 431800 h 2222500"/>
                <a:gd name="connsiteX5" fmla="*/ 260350 w 285750"/>
                <a:gd name="connsiteY5" fmla="*/ 6350 h 2222500"/>
                <a:gd name="connsiteX6" fmla="*/ 0 w 285750"/>
                <a:gd name="connsiteY6" fmla="*/ 0 h 2222500"/>
                <a:gd name="connsiteX7" fmla="*/ 6350 w 285750"/>
                <a:gd name="connsiteY7" fmla="*/ 1936750 h 2222500"/>
                <a:gd name="connsiteX8" fmla="*/ 63500 w 285750"/>
                <a:gd name="connsiteY8" fmla="*/ 1936750 h 2222500"/>
                <a:gd name="connsiteX9" fmla="*/ 76200 w 285750"/>
                <a:gd name="connsiteY9" fmla="*/ 2222500 h 2222500"/>
                <a:gd name="connsiteX10" fmla="*/ 285750 w 285750"/>
                <a:gd name="connsiteY10" fmla="*/ 2216150 h 222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5750" h="2222500">
                  <a:moveTo>
                    <a:pt x="285750" y="2216150"/>
                  </a:moveTo>
                  <a:cubicBezTo>
                    <a:pt x="283633" y="1843617"/>
                    <a:pt x="281517" y="1471083"/>
                    <a:pt x="279400" y="1098550"/>
                  </a:cubicBezTo>
                  <a:lnTo>
                    <a:pt x="95250" y="1098550"/>
                  </a:lnTo>
                  <a:lnTo>
                    <a:pt x="82550" y="438150"/>
                  </a:lnTo>
                  <a:lnTo>
                    <a:pt x="260350" y="431800"/>
                  </a:lnTo>
                  <a:lnTo>
                    <a:pt x="260350" y="6350"/>
                  </a:lnTo>
                  <a:lnTo>
                    <a:pt x="0" y="0"/>
                  </a:lnTo>
                  <a:cubicBezTo>
                    <a:pt x="2117" y="645583"/>
                    <a:pt x="4233" y="1291167"/>
                    <a:pt x="6350" y="1936750"/>
                  </a:cubicBezTo>
                  <a:lnTo>
                    <a:pt x="63500" y="1936750"/>
                  </a:lnTo>
                  <a:lnTo>
                    <a:pt x="76200" y="2222500"/>
                  </a:lnTo>
                  <a:lnTo>
                    <a:pt x="285750" y="2216150"/>
                  </a:ln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47" name="円/楕円 150"/>
            <p:cNvSpPr/>
            <p:nvPr/>
          </p:nvSpPr>
          <p:spPr>
            <a:xfrm>
              <a:off x="1119188" y="2387600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48" name="円/楕円 151"/>
            <p:cNvSpPr/>
            <p:nvPr/>
          </p:nvSpPr>
          <p:spPr>
            <a:xfrm>
              <a:off x="1119188" y="2106613"/>
              <a:ext cx="98425" cy="96837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49" name="円/楕円 152"/>
            <p:cNvSpPr/>
            <p:nvPr/>
          </p:nvSpPr>
          <p:spPr>
            <a:xfrm>
              <a:off x="1119188" y="1882775"/>
              <a:ext cx="98425" cy="96838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0" name="円/楕円 153"/>
            <p:cNvSpPr/>
            <p:nvPr/>
          </p:nvSpPr>
          <p:spPr>
            <a:xfrm>
              <a:off x="1108075" y="1604963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1" name="円/楕円 154"/>
            <p:cNvSpPr/>
            <p:nvPr/>
          </p:nvSpPr>
          <p:spPr>
            <a:xfrm>
              <a:off x="1111250" y="1330325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2" name="円/楕円 155"/>
            <p:cNvSpPr/>
            <p:nvPr/>
          </p:nvSpPr>
          <p:spPr>
            <a:xfrm>
              <a:off x="1119188" y="1050925"/>
              <a:ext cx="98425" cy="98425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3" name="フリーフォーム 46"/>
            <p:cNvSpPr/>
            <p:nvPr/>
          </p:nvSpPr>
          <p:spPr>
            <a:xfrm>
              <a:off x="3365500" y="5378450"/>
              <a:ext cx="2298700" cy="565150"/>
            </a:xfrm>
            <a:custGeom>
              <a:avLst/>
              <a:gdLst>
                <a:gd name="connsiteX0" fmla="*/ 0 w 2298700"/>
                <a:gd name="connsiteY0" fmla="*/ 488950 h 565150"/>
                <a:gd name="connsiteX1" fmla="*/ 6350 w 2298700"/>
                <a:gd name="connsiteY1" fmla="*/ 279400 h 565150"/>
                <a:gd name="connsiteX2" fmla="*/ 577850 w 2298700"/>
                <a:gd name="connsiteY2" fmla="*/ 273050 h 565150"/>
                <a:gd name="connsiteX3" fmla="*/ 577850 w 2298700"/>
                <a:gd name="connsiteY3" fmla="*/ 323850 h 565150"/>
                <a:gd name="connsiteX4" fmla="*/ 1041400 w 2298700"/>
                <a:gd name="connsiteY4" fmla="*/ 304800 h 565150"/>
                <a:gd name="connsiteX5" fmla="*/ 1035050 w 2298700"/>
                <a:gd name="connsiteY5" fmla="*/ 381000 h 565150"/>
                <a:gd name="connsiteX6" fmla="*/ 1841500 w 2298700"/>
                <a:gd name="connsiteY6" fmla="*/ 387350 h 565150"/>
                <a:gd name="connsiteX7" fmla="*/ 1854200 w 2298700"/>
                <a:gd name="connsiteY7" fmla="*/ 44450 h 565150"/>
                <a:gd name="connsiteX8" fmla="*/ 1936750 w 2298700"/>
                <a:gd name="connsiteY8" fmla="*/ 44450 h 565150"/>
                <a:gd name="connsiteX9" fmla="*/ 1936750 w 2298700"/>
                <a:gd name="connsiteY9" fmla="*/ 44450 h 565150"/>
                <a:gd name="connsiteX10" fmla="*/ 1936750 w 2298700"/>
                <a:gd name="connsiteY10" fmla="*/ 0 h 565150"/>
                <a:gd name="connsiteX11" fmla="*/ 2209800 w 2298700"/>
                <a:gd name="connsiteY11" fmla="*/ 12700 h 565150"/>
                <a:gd name="connsiteX12" fmla="*/ 2279650 w 2298700"/>
                <a:gd name="connsiteY12" fmla="*/ 19050 h 565150"/>
                <a:gd name="connsiteX13" fmla="*/ 2286000 w 2298700"/>
                <a:gd name="connsiteY13" fmla="*/ 38100 h 565150"/>
                <a:gd name="connsiteX14" fmla="*/ 2298700 w 2298700"/>
                <a:gd name="connsiteY14" fmla="*/ 63500 h 565150"/>
                <a:gd name="connsiteX15" fmla="*/ 2298700 w 2298700"/>
                <a:gd name="connsiteY15" fmla="*/ 368300 h 565150"/>
                <a:gd name="connsiteX16" fmla="*/ 2139950 w 2298700"/>
                <a:gd name="connsiteY16" fmla="*/ 368300 h 565150"/>
                <a:gd name="connsiteX17" fmla="*/ 2133600 w 2298700"/>
                <a:gd name="connsiteY17" fmla="*/ 565150 h 565150"/>
                <a:gd name="connsiteX18" fmla="*/ 0 w 2298700"/>
                <a:gd name="connsiteY18" fmla="*/ 488950 h 56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98700" h="565150">
                  <a:moveTo>
                    <a:pt x="0" y="488950"/>
                  </a:moveTo>
                  <a:lnTo>
                    <a:pt x="6350" y="279400"/>
                  </a:lnTo>
                  <a:lnTo>
                    <a:pt x="577850" y="273050"/>
                  </a:lnTo>
                  <a:lnTo>
                    <a:pt x="577850" y="323850"/>
                  </a:lnTo>
                  <a:lnTo>
                    <a:pt x="1041400" y="304800"/>
                  </a:lnTo>
                  <a:lnTo>
                    <a:pt x="1035050" y="381000"/>
                  </a:lnTo>
                  <a:lnTo>
                    <a:pt x="1841500" y="387350"/>
                  </a:lnTo>
                  <a:lnTo>
                    <a:pt x="1854200" y="44450"/>
                  </a:lnTo>
                  <a:lnTo>
                    <a:pt x="1936750" y="44450"/>
                  </a:lnTo>
                  <a:lnTo>
                    <a:pt x="1936750" y="44450"/>
                  </a:lnTo>
                  <a:lnTo>
                    <a:pt x="1936750" y="0"/>
                  </a:lnTo>
                  <a:lnTo>
                    <a:pt x="2209800" y="12700"/>
                  </a:lnTo>
                  <a:lnTo>
                    <a:pt x="2279650" y="19050"/>
                  </a:lnTo>
                  <a:lnTo>
                    <a:pt x="2286000" y="38100"/>
                  </a:lnTo>
                  <a:lnTo>
                    <a:pt x="2298700" y="63500"/>
                  </a:lnTo>
                  <a:lnTo>
                    <a:pt x="2298700" y="368300"/>
                  </a:lnTo>
                  <a:lnTo>
                    <a:pt x="2139950" y="368300"/>
                  </a:lnTo>
                  <a:lnTo>
                    <a:pt x="2133600" y="565150"/>
                  </a:lnTo>
                  <a:lnTo>
                    <a:pt x="0" y="488950"/>
                  </a:ln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grpSp>
          <p:nvGrpSpPr>
            <p:cNvPr id="15485" name="グループ化 43"/>
            <p:cNvGrpSpPr/>
            <p:nvPr/>
          </p:nvGrpSpPr>
          <p:grpSpPr>
            <a:xfrm>
              <a:off x="3392488" y="5705475"/>
              <a:ext cx="1682750" cy="149225"/>
              <a:chOff x="3392336" y="5705921"/>
              <a:chExt cx="1683258" cy="148779"/>
            </a:xfrm>
          </p:grpSpPr>
          <p:sp>
            <p:nvSpPr>
              <p:cNvPr id="165" name="円/楕円 102"/>
              <p:cNvSpPr/>
              <p:nvPr/>
            </p:nvSpPr>
            <p:spPr>
              <a:xfrm>
                <a:off x="4977139" y="5756569"/>
                <a:ext cx="98455" cy="98131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66" name="円/楕円 103"/>
              <p:cNvSpPr/>
              <p:nvPr/>
            </p:nvSpPr>
            <p:spPr>
              <a:xfrm>
                <a:off x="4657955" y="5756569"/>
                <a:ext cx="96867" cy="98131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67" name="円/楕円 104"/>
              <p:cNvSpPr/>
              <p:nvPr/>
            </p:nvSpPr>
            <p:spPr>
              <a:xfrm>
                <a:off x="4340359" y="5743907"/>
                <a:ext cx="96867" cy="98131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68" name="円/楕円 106"/>
              <p:cNvSpPr/>
              <p:nvPr/>
            </p:nvSpPr>
            <p:spPr>
              <a:xfrm>
                <a:off x="4054523" y="5724914"/>
                <a:ext cx="96867" cy="98131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69" name="円/楕円 107"/>
              <p:cNvSpPr/>
              <p:nvPr/>
            </p:nvSpPr>
            <p:spPr>
              <a:xfrm>
                <a:off x="3700404" y="5705921"/>
                <a:ext cx="98455" cy="98131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  <p:sp>
            <p:nvSpPr>
              <p:cNvPr id="170" name="円/楕円 110"/>
              <p:cNvSpPr/>
              <p:nvPr/>
            </p:nvSpPr>
            <p:spPr>
              <a:xfrm>
                <a:off x="3392336" y="5705921"/>
                <a:ext cx="98455" cy="98131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529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1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panose="020B0600070205080204" pitchFamily="34" charset="-128"/>
                  <a:ea typeface="+mn-ea"/>
                  <a:cs typeface="ヒラギノ角ゴ Pro W3"/>
                </a:endParaRPr>
              </a:p>
            </p:txBody>
          </p:sp>
        </p:grpSp>
        <p:sp>
          <p:nvSpPr>
            <p:cNvPr id="155" name="フリーフォーム 47"/>
            <p:cNvSpPr/>
            <p:nvPr/>
          </p:nvSpPr>
          <p:spPr>
            <a:xfrm>
              <a:off x="3155950" y="4984750"/>
              <a:ext cx="469900" cy="244475"/>
            </a:xfrm>
            <a:custGeom>
              <a:avLst/>
              <a:gdLst>
                <a:gd name="connsiteX0" fmla="*/ 469900 w 469900"/>
                <a:gd name="connsiteY0" fmla="*/ 241300 h 244475"/>
                <a:gd name="connsiteX1" fmla="*/ 69850 w 469900"/>
                <a:gd name="connsiteY1" fmla="*/ 244475 h 244475"/>
                <a:gd name="connsiteX2" fmla="*/ 31750 w 469900"/>
                <a:gd name="connsiteY2" fmla="*/ 231775 h 244475"/>
                <a:gd name="connsiteX3" fmla="*/ 15875 w 469900"/>
                <a:gd name="connsiteY3" fmla="*/ 206375 h 244475"/>
                <a:gd name="connsiteX4" fmla="*/ 3175 w 469900"/>
                <a:gd name="connsiteY4" fmla="*/ 190500 h 244475"/>
                <a:gd name="connsiteX5" fmla="*/ 0 w 469900"/>
                <a:gd name="connsiteY5" fmla="*/ 57150 h 244475"/>
                <a:gd name="connsiteX6" fmla="*/ 19050 w 469900"/>
                <a:gd name="connsiteY6" fmla="*/ 31750 h 244475"/>
                <a:gd name="connsiteX7" fmla="*/ 50800 w 469900"/>
                <a:gd name="connsiteY7" fmla="*/ 9525 h 244475"/>
                <a:gd name="connsiteX8" fmla="*/ 69850 w 469900"/>
                <a:gd name="connsiteY8" fmla="*/ 0 h 244475"/>
                <a:gd name="connsiteX9" fmla="*/ 69850 w 469900"/>
                <a:gd name="connsiteY9" fmla="*/ 0 h 244475"/>
                <a:gd name="connsiteX10" fmla="*/ 466725 w 469900"/>
                <a:gd name="connsiteY10" fmla="*/ 3175 h 244475"/>
                <a:gd name="connsiteX11" fmla="*/ 469900 w 469900"/>
                <a:gd name="connsiteY11" fmla="*/ 241300 h 24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9900" h="244475">
                  <a:moveTo>
                    <a:pt x="469900" y="241300"/>
                  </a:moveTo>
                  <a:lnTo>
                    <a:pt x="69850" y="244475"/>
                  </a:lnTo>
                  <a:lnTo>
                    <a:pt x="31750" y="231775"/>
                  </a:lnTo>
                  <a:lnTo>
                    <a:pt x="15875" y="206375"/>
                  </a:lnTo>
                  <a:lnTo>
                    <a:pt x="3175" y="190500"/>
                  </a:lnTo>
                  <a:cubicBezTo>
                    <a:pt x="2117" y="146050"/>
                    <a:pt x="1058" y="101600"/>
                    <a:pt x="0" y="57150"/>
                  </a:cubicBezTo>
                  <a:lnTo>
                    <a:pt x="19050" y="31750"/>
                  </a:lnTo>
                  <a:lnTo>
                    <a:pt x="50800" y="9525"/>
                  </a:lnTo>
                  <a:lnTo>
                    <a:pt x="69850" y="0"/>
                  </a:lnTo>
                  <a:lnTo>
                    <a:pt x="69850" y="0"/>
                  </a:lnTo>
                  <a:lnTo>
                    <a:pt x="466725" y="3175"/>
                  </a:lnTo>
                  <a:cubicBezTo>
                    <a:pt x="467783" y="82550"/>
                    <a:pt x="468842" y="161925"/>
                    <a:pt x="469900" y="241300"/>
                  </a:cubicBezTo>
                  <a:close/>
                </a:path>
              </a:pathLst>
            </a:cu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ea"/>
                <a:ea typeface="+mn-ea"/>
                <a:cs typeface="+mn-cs"/>
              </a:endParaRPr>
            </a:p>
          </p:txBody>
        </p:sp>
        <p:sp>
          <p:nvSpPr>
            <p:cNvPr id="156" name="円/楕円 169"/>
            <p:cNvSpPr/>
            <p:nvPr/>
          </p:nvSpPr>
          <p:spPr>
            <a:xfrm>
              <a:off x="3554413" y="5164138"/>
              <a:ext cx="46037" cy="4445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7" name="円/楕円 170"/>
            <p:cNvSpPr/>
            <p:nvPr/>
          </p:nvSpPr>
          <p:spPr>
            <a:xfrm>
              <a:off x="3475038" y="5164138"/>
              <a:ext cx="46037" cy="4445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8" name="円/楕円 171"/>
            <p:cNvSpPr/>
            <p:nvPr/>
          </p:nvSpPr>
          <p:spPr>
            <a:xfrm>
              <a:off x="3400425" y="5164138"/>
              <a:ext cx="46038" cy="4445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59" name="円/楕円 172"/>
            <p:cNvSpPr/>
            <p:nvPr/>
          </p:nvSpPr>
          <p:spPr>
            <a:xfrm>
              <a:off x="3322638" y="5164138"/>
              <a:ext cx="46037" cy="4445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60" name="円/楕円 173"/>
            <p:cNvSpPr/>
            <p:nvPr/>
          </p:nvSpPr>
          <p:spPr>
            <a:xfrm>
              <a:off x="3236913" y="5154613"/>
              <a:ext cx="44450" cy="4445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61" name="円/楕円 174"/>
            <p:cNvSpPr/>
            <p:nvPr/>
          </p:nvSpPr>
          <p:spPr>
            <a:xfrm>
              <a:off x="3181350" y="5100638"/>
              <a:ext cx="46038" cy="46037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62" name="円/楕円 175"/>
            <p:cNvSpPr/>
            <p:nvPr/>
          </p:nvSpPr>
          <p:spPr>
            <a:xfrm>
              <a:off x="3181350" y="5014913"/>
              <a:ext cx="46038" cy="46037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63" name="正方形/長方形 49"/>
            <p:cNvSpPr/>
            <p:nvPr/>
          </p:nvSpPr>
          <p:spPr>
            <a:xfrm>
              <a:off x="1108075" y="2681288"/>
              <a:ext cx="388938" cy="163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1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panose="020B0600070205080204" pitchFamily="34" charset="-128"/>
                <a:ea typeface="+mn-ea"/>
                <a:cs typeface="ヒラギノ角ゴ Pro W3"/>
              </a:endParaRPr>
            </a:p>
          </p:txBody>
        </p:sp>
        <p:sp>
          <p:nvSpPr>
            <p:cNvPr id="164" name="Text Box 2"/>
            <p:cNvSpPr txBox="1">
              <a:spLocks noChangeArrowheads="1"/>
            </p:cNvSpPr>
            <p:nvPr/>
          </p:nvSpPr>
          <p:spPr bwMode="auto">
            <a:xfrm>
              <a:off x="6557963" y="4935538"/>
              <a:ext cx="3092450" cy="76993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5pPr>
              <a:lvl6pPr marL="25146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6pPr>
              <a:lvl7pPr marL="29718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7pPr>
              <a:lvl8pPr marL="34290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8pPr>
              <a:lvl9pPr marL="3886200" indent="-228600" defTabSz="45529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/>
                  <a:cs typeface="ヒラギノ角ゴ Pro W3"/>
                </a:defRPr>
              </a:lvl9pPr>
            </a:lstStyle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11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KF-B5 P Kaishu" pitchFamily="65" charset="-120"/>
                </a:rPr>
                <a:t>生産キャパ</a:t>
              </a:r>
              <a:endPara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S PGothic" panose="020B0600070205080204" pitchFamily="34" charset="-128"/>
                <a:ea typeface="MS PGothic" panose="020B0600070205080204" pitchFamily="34" charset="-128"/>
                <a:cs typeface="KF-B5 P Kaishu" pitchFamily="65" charset="-120"/>
              </a:endParaRPr>
            </a:p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11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KF-B5 P Kaishu" pitchFamily="65" charset="-120"/>
                </a:rPr>
                <a:t>Panel Back End   5,000</a:t>
              </a:r>
              <a:r>
                <a:rPr kumimoji="1" lang="en-US" altLang="zh-CN" sz="11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KF-B5 P Kaishu" pitchFamily="65" charset="-120"/>
                </a:rPr>
                <a:t>Kpcs</a:t>
              </a:r>
              <a:r>
                <a:rPr kumimoji="1" lang="en-US" altLang="ja-JP" sz="11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KF-B5 P Kaishu" pitchFamily="65" charset="-120"/>
                </a:rPr>
                <a:t>/M</a:t>
              </a:r>
              <a:endPara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S PGothic" panose="020B0600070205080204" pitchFamily="34" charset="-128"/>
                <a:ea typeface="MS PGothic" panose="020B0600070205080204" pitchFamily="34" charset="-128"/>
                <a:cs typeface="KF-B5 P Kaishu" pitchFamily="65" charset="-120"/>
              </a:endParaRPr>
            </a:p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11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KF-B5 P Kaishu" pitchFamily="65" charset="-120"/>
                </a:rPr>
                <a:t>LCD Module Assembly   3,500</a:t>
              </a:r>
              <a:r>
                <a:rPr kumimoji="1" lang="en-US" altLang="zh-CN" sz="11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KF-B5 P Kaishu" pitchFamily="65" charset="-120"/>
                </a:rPr>
                <a:t>Kpcs</a:t>
              </a:r>
              <a:r>
                <a:rPr kumimoji="1" lang="en-US" altLang="ja-JP" sz="11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S PGothic" panose="020B0600070205080204" pitchFamily="34" charset="-128"/>
                  <a:ea typeface="MS PGothic" panose="020B0600070205080204" pitchFamily="34" charset="-128"/>
                  <a:cs typeface="KF-B5 P Kaishu" pitchFamily="65" charset="-120"/>
                </a:rPr>
                <a:t>/M</a:t>
              </a:r>
              <a:endPara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S PGothic" panose="020B0600070205080204" pitchFamily="34" charset="-128"/>
                <a:ea typeface="MS PGothic" panose="020B0600070205080204" pitchFamily="34" charset="-128"/>
                <a:cs typeface="KF-B5 P Kaishu" pitchFamily="65" charset="-12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3"/>
          <p:cNvSpPr/>
          <p:nvPr/>
        </p:nvSpPr>
        <p:spPr>
          <a:xfrm>
            <a:off x="-4762" y="131763"/>
            <a:ext cx="8172450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介绍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6387" name="组合 63"/>
          <p:cNvGrpSpPr/>
          <p:nvPr/>
        </p:nvGrpSpPr>
        <p:grpSpPr>
          <a:xfrm>
            <a:off x="-134937" y="817563"/>
            <a:ext cx="9791700" cy="5886450"/>
            <a:chOff x="-134938" y="817563"/>
            <a:chExt cx="9791701" cy="5886450"/>
          </a:xfrm>
        </p:grpSpPr>
        <p:grpSp>
          <p:nvGrpSpPr>
            <p:cNvPr id="16388" name="组合 4"/>
            <p:cNvGrpSpPr/>
            <p:nvPr/>
          </p:nvGrpSpPr>
          <p:grpSpPr>
            <a:xfrm>
              <a:off x="-134938" y="817563"/>
              <a:ext cx="9791701" cy="5886450"/>
              <a:chOff x="-134938" y="817563"/>
              <a:chExt cx="9791701" cy="5886450"/>
            </a:xfrm>
          </p:grpSpPr>
          <p:sp>
            <p:nvSpPr>
              <p:cNvPr id="25" name="Rectangle 29"/>
              <p:cNvSpPr>
                <a:spLocks noChangeArrowheads="1"/>
              </p:cNvSpPr>
              <p:nvPr/>
            </p:nvSpPr>
            <p:spPr bwMode="auto">
              <a:xfrm>
                <a:off x="7537450" y="928688"/>
                <a:ext cx="2119313" cy="224472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C0C0C0"/>
                </a:solidFill>
                <a:miter lim="800000"/>
              </a:ln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1pPr>
                <a:lvl2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2pPr>
                <a:lvl3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3pPr>
                <a:lvl4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4pPr>
                <a:lvl5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5pPr>
                <a:lvl6pPr marL="22847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6pPr>
                <a:lvl7pPr marL="27419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7pPr>
                <a:lvl8pPr marL="31991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8pPr>
                <a:lvl9pPr marL="36563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ヒラギノ角ゴ Pro W3"/>
                </a:endParaRPr>
              </a:p>
            </p:txBody>
          </p:sp>
          <p:sp>
            <p:nvSpPr>
              <p:cNvPr id="26" name="Rectangle 29"/>
              <p:cNvSpPr>
                <a:spLocks noChangeArrowheads="1"/>
              </p:cNvSpPr>
              <p:nvPr/>
            </p:nvSpPr>
            <p:spPr bwMode="auto">
              <a:xfrm>
                <a:off x="3968750" y="817563"/>
                <a:ext cx="3138488" cy="181451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C0C0C0"/>
                </a:solidFill>
                <a:miter lim="800000"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1pPr>
                <a:lvl2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2pPr>
                <a:lvl3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3pPr>
                <a:lvl4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4pPr>
                <a:lvl5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5pPr>
                <a:lvl6pPr marL="22847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6pPr>
                <a:lvl7pPr marL="27419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7pPr>
                <a:lvl8pPr marL="31991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8pPr>
                <a:lvl9pPr marL="36563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ヒラギノ角ゴ Pro W3"/>
                </a:endParaRPr>
              </a:p>
            </p:txBody>
          </p:sp>
          <p:sp>
            <p:nvSpPr>
              <p:cNvPr id="27" name="Rectangle 29"/>
              <p:cNvSpPr>
                <a:spLocks noChangeArrowheads="1"/>
              </p:cNvSpPr>
              <p:nvPr/>
            </p:nvSpPr>
            <p:spPr bwMode="auto">
              <a:xfrm>
                <a:off x="298450" y="887413"/>
                <a:ext cx="3109913" cy="207803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C0C0C0"/>
                </a:solidFill>
                <a:miter lim="800000"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1pPr>
                <a:lvl2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2pPr>
                <a:lvl3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3pPr>
                <a:lvl4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4pPr>
                <a:lvl5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5pPr>
                <a:lvl6pPr marL="22847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6pPr>
                <a:lvl7pPr marL="27419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7pPr>
                <a:lvl8pPr marL="31991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8pPr>
                <a:lvl9pPr marL="36563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ヒラギノ角ゴ Pro W3"/>
                </a:endParaRPr>
              </a:p>
            </p:txBody>
          </p:sp>
          <p:grpSp>
            <p:nvGrpSpPr>
              <p:cNvPr id="16396" name="グループ化 3"/>
              <p:cNvGrpSpPr/>
              <p:nvPr/>
            </p:nvGrpSpPr>
            <p:grpSpPr>
              <a:xfrm>
                <a:off x="669925" y="1031875"/>
                <a:ext cx="2366963" cy="1787525"/>
                <a:chOff x="7777466" y="5080641"/>
                <a:chExt cx="2048205" cy="1227237"/>
              </a:xfrm>
            </p:grpSpPr>
            <p:pic>
              <p:nvPicPr>
                <p:cNvPr id="16447" name="Picture 10" descr="buystrip-icon-retail"/>
                <p:cNvPicPr>
                  <a:picLocks noChangeAspect="1"/>
                </p:cNvPicPr>
                <p:nvPr/>
              </p:nvPicPr>
              <p:blipFill>
                <a:blip r:embed="rId1"/>
                <a:stretch>
                  <a:fillRect/>
                </a:stretch>
              </p:blipFill>
              <p:spPr>
                <a:xfrm>
                  <a:off x="8665794" y="5088019"/>
                  <a:ext cx="384175" cy="409575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pic>
              <p:nvPicPr>
                <p:cNvPr id="16448" name="Picture 6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7777466" y="5080641"/>
                  <a:ext cx="809067" cy="1227237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pic>
              <p:nvPicPr>
                <p:cNvPr id="16449" name="Picture 7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8716839" y="5553195"/>
                  <a:ext cx="1089001" cy="728557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pic>
              <p:nvPicPr>
                <p:cNvPr id="16450" name="Picture 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9069021" y="5188091"/>
                  <a:ext cx="756650" cy="209430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</p:grpSp>
          <p:grpSp>
            <p:nvGrpSpPr>
              <p:cNvPr id="16397" name="グループ化 68"/>
              <p:cNvGrpSpPr/>
              <p:nvPr/>
            </p:nvGrpSpPr>
            <p:grpSpPr>
              <a:xfrm>
                <a:off x="4235450" y="1731963"/>
                <a:ext cx="890588" cy="844550"/>
                <a:chOff x="4762067" y="2479964"/>
                <a:chExt cx="1815932" cy="1523285"/>
              </a:xfrm>
            </p:grpSpPr>
            <p:pic>
              <p:nvPicPr>
                <p:cNvPr id="16445" name="Picture 5" descr="C:\Users\JDI00122\Pictures\SET\Samsung\Galaxy Camera.png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762067" y="2479964"/>
                  <a:ext cx="1815932" cy="1305000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pic>
              <p:nvPicPr>
                <p:cNvPr id="16446" name="Picture 10" descr="C:\Users\JDI00122\Pictures\Logo\Samsung%20Logo.png"/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5347350" y="3759811"/>
                  <a:ext cx="726793" cy="243438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</p:grpSp>
          <p:grpSp>
            <p:nvGrpSpPr>
              <p:cNvPr id="16398" name="グループ化 70"/>
              <p:cNvGrpSpPr/>
              <p:nvPr/>
            </p:nvGrpSpPr>
            <p:grpSpPr>
              <a:xfrm>
                <a:off x="5307013" y="1093788"/>
                <a:ext cx="927100" cy="1470025"/>
                <a:chOff x="3435911" y="2139461"/>
                <a:chExt cx="914415" cy="1539667"/>
              </a:xfrm>
            </p:grpSpPr>
            <p:pic>
              <p:nvPicPr>
                <p:cNvPr id="16443" name="Picture 4" descr="HTC One SC&#10;MORE PICTURES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435911" y="2139461"/>
                  <a:ext cx="914415" cy="121026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pic>
              <p:nvPicPr>
                <p:cNvPr id="16444" name="Picture 11" descr="C:\Users\JDI00122\Pictures\Logo\HTC_logo.png"/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663746" y="3400386"/>
                  <a:ext cx="486440" cy="278742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</p:grpSp>
          <p:grpSp>
            <p:nvGrpSpPr>
              <p:cNvPr id="16399" name="グループ化 69"/>
              <p:cNvGrpSpPr/>
              <p:nvPr/>
            </p:nvGrpSpPr>
            <p:grpSpPr>
              <a:xfrm>
                <a:off x="4116388" y="941388"/>
                <a:ext cx="1135062" cy="749300"/>
                <a:chOff x="6319666" y="982908"/>
                <a:chExt cx="1784918" cy="1223573"/>
              </a:xfrm>
            </p:grpSpPr>
            <p:pic>
              <p:nvPicPr>
                <p:cNvPr id="16441" name="Picture 3"/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319666" y="982908"/>
                  <a:ext cx="1784918" cy="1034349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pic>
              <p:nvPicPr>
                <p:cNvPr id="16442" name="Picture 51" descr="富士通"/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094522" y="2039797"/>
                  <a:ext cx="362152" cy="166684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</p:grpSp>
          <p:sp>
            <p:nvSpPr>
              <p:cNvPr id="32" name="Rectangle 29"/>
              <p:cNvSpPr>
                <a:spLocks noChangeArrowheads="1"/>
              </p:cNvSpPr>
              <p:nvPr/>
            </p:nvSpPr>
            <p:spPr bwMode="auto">
              <a:xfrm>
                <a:off x="4016375" y="4487863"/>
                <a:ext cx="3116263" cy="181451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C0C0C0"/>
                </a:solidFill>
                <a:miter lim="8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1pPr>
                <a:lvl2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2pPr>
                <a:lvl3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3pPr>
                <a:lvl4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4pPr>
                <a:lvl5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5pPr>
                <a:lvl6pPr marL="22847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6pPr>
                <a:lvl7pPr marL="27419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7pPr>
                <a:lvl8pPr marL="31991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8pPr>
                <a:lvl9pPr marL="36563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ヒラギノ角ゴ Pro W3"/>
                </a:endParaRPr>
              </a:p>
            </p:txBody>
          </p:sp>
          <p:pic>
            <p:nvPicPr>
              <p:cNvPr id="16401" name="Picture 5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038850" y="5138738"/>
                <a:ext cx="879475" cy="109855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16402" name="Text Box 20"/>
              <p:cNvSpPr txBox="1"/>
              <p:nvPr/>
            </p:nvSpPr>
            <p:spPr>
              <a:xfrm>
                <a:off x="5233988" y="4783138"/>
                <a:ext cx="2455862" cy="336550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/>
              <a:p>
                <a:pPr marL="628650" lvl="0" indent="-177800" defTabSz="914400" eaLnBrk="1" hangingPunct="1">
                  <a:spcBef>
                    <a:spcPct val="50000"/>
                  </a:spcBef>
                </a:pPr>
                <a:r>
                  <a:rPr lang="en-US" altLang="ja-JP" sz="1400" u="sng" dirty="0">
                    <a:latin typeface="HGMaruGothicMPRO" pitchFamily="34" charset="-128"/>
                    <a:ea typeface="HGMaruGothicMPRO" pitchFamily="34" charset="-128"/>
                  </a:rPr>
                  <a:t>3.5” QVGA</a:t>
                </a:r>
                <a:endParaRPr lang="en-US" altLang="ja-JP" sz="1400" u="sng" dirty="0">
                  <a:latin typeface="HGMaruGothicMPRO" pitchFamily="34" charset="-128"/>
                  <a:ea typeface="HGMaruGothicMPRO" pitchFamily="34" charset="-128"/>
                </a:endParaRPr>
              </a:p>
            </p:txBody>
          </p:sp>
          <p:sp>
            <p:nvSpPr>
              <p:cNvPr id="35" name="Rectangle 29"/>
              <p:cNvSpPr>
                <a:spLocks noChangeArrowheads="1"/>
              </p:cNvSpPr>
              <p:nvPr/>
            </p:nvSpPr>
            <p:spPr bwMode="auto">
              <a:xfrm>
                <a:off x="301625" y="3243263"/>
                <a:ext cx="3213100" cy="304323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C0C0C0"/>
                </a:solidFill>
                <a:miter lim="800000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1pPr>
                <a:lvl2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2pPr>
                <a:lvl3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3pPr>
                <a:lvl4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4pPr>
                <a:lvl5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5pPr>
                <a:lvl6pPr marL="22847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6pPr>
                <a:lvl7pPr marL="27419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7pPr>
                <a:lvl8pPr marL="31991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8pPr>
                <a:lvl9pPr marL="36563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ヒラギノ角ゴ Pro W3"/>
                </a:endParaRPr>
              </a:p>
            </p:txBody>
          </p:sp>
          <p:sp>
            <p:nvSpPr>
              <p:cNvPr id="16404" name="Text Box 10"/>
              <p:cNvSpPr txBox="1"/>
              <p:nvPr/>
            </p:nvSpPr>
            <p:spPr>
              <a:xfrm>
                <a:off x="-134938" y="5576888"/>
                <a:ext cx="4224338" cy="307975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/>
              <a:p>
                <a:pPr marL="628650" lvl="0" indent="-177800" defTabSz="914400" eaLnBrk="1" hangingPunct="1">
                  <a:spcBef>
                    <a:spcPct val="50000"/>
                  </a:spcBef>
                </a:pPr>
                <a:r>
                  <a:rPr lang="en-US" altLang="ja-JP" sz="1400" u="sng" dirty="0">
                    <a:latin typeface="HGMaruGothicMPRO" pitchFamily="34" charset="-128"/>
                    <a:ea typeface="HGMaruGothicMPRO" pitchFamily="34" charset="-128"/>
                  </a:rPr>
                  <a:t>12.3”</a:t>
                </a:r>
                <a:r>
                  <a:rPr lang="ja-JP" altLang="en-US" sz="1400" u="sng" dirty="0">
                    <a:latin typeface="HGMaruGothicMPRO" pitchFamily="34" charset="-128"/>
                    <a:ea typeface="HGMaruGothicMPRO" pitchFamily="34" charset="-128"/>
                  </a:rPr>
                  <a:t>（</a:t>
                </a:r>
                <a:r>
                  <a:rPr lang="en-US" altLang="ja-JP" sz="1400" u="sng" dirty="0">
                    <a:latin typeface="HGMaruGothicMPRO" pitchFamily="34" charset="-128"/>
                    <a:ea typeface="HGMaruGothicMPRO" pitchFamily="34" charset="-128"/>
                  </a:rPr>
                  <a:t>1440×540 </a:t>
                </a:r>
                <a:r>
                  <a:rPr lang="ja-JP" altLang="en-US" sz="1400" u="sng" dirty="0">
                    <a:latin typeface="HGMaruGothicMPRO" pitchFamily="34" charset="-128"/>
                    <a:ea typeface="HGMaruGothicMPRO" pitchFamily="34" charset="-128"/>
                  </a:rPr>
                  <a:t>）</a:t>
                </a:r>
                <a:r>
                  <a:rPr lang="en-US" altLang="ja-JP" sz="1400" u="sng" dirty="0">
                    <a:latin typeface="HGMaruGothicMPRO" pitchFamily="34" charset="-128"/>
                    <a:ea typeface="HGMaruGothicMPRO" pitchFamily="34" charset="-128"/>
                  </a:rPr>
                  <a:t>Vistarich </a:t>
                </a:r>
                <a:endParaRPr lang="en-US" altLang="ja-JP" sz="1400" u="sng" dirty="0">
                  <a:latin typeface="HGMaruGothicMPRO" pitchFamily="34" charset="-128"/>
                  <a:ea typeface="HGMaruGothicMPRO" pitchFamily="34" charset="-128"/>
                </a:endParaRPr>
              </a:p>
            </p:txBody>
          </p:sp>
          <p:sp>
            <p:nvSpPr>
              <p:cNvPr id="16405" name="Text Box 65"/>
              <p:cNvSpPr txBox="1"/>
              <p:nvPr/>
            </p:nvSpPr>
            <p:spPr>
              <a:xfrm>
                <a:off x="165100" y="5930900"/>
                <a:ext cx="4084638" cy="307975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/>
              <a:p>
                <a:pPr marL="628650" lvl="0" indent="-177800" defTabSz="914400" eaLnBrk="1" hangingPunct="1">
                  <a:spcBef>
                    <a:spcPct val="50000"/>
                  </a:spcBef>
                </a:pPr>
                <a:r>
                  <a:rPr lang="ja-JP" altLang="en-US" sz="1400" b="1" dirty="0">
                    <a:latin typeface="HGMaruGothicMPRO" pitchFamily="34" charset="-128"/>
                    <a:ea typeface="HGMaruGothicMPRO" pitchFamily="34" charset="-128"/>
                  </a:rPr>
                  <a:t>メルセデスベンツ</a:t>
                </a:r>
                <a:r>
                  <a:rPr lang="ja-JP" altLang="en-US" sz="1400" dirty="0">
                    <a:latin typeface="HGMaruGothicMPRO" pitchFamily="34" charset="-128"/>
                    <a:ea typeface="HGMaruGothicMPRO" pitchFamily="34" charset="-128"/>
                  </a:rPr>
                  <a:t> 　</a:t>
                </a:r>
                <a:r>
                  <a:rPr lang="en-US" altLang="ja-JP" sz="1400" dirty="0">
                    <a:latin typeface="HGMaruGothicMPRO" pitchFamily="34" charset="-128"/>
                    <a:ea typeface="HGMaruGothicMPRO" pitchFamily="34" charset="-128"/>
                  </a:rPr>
                  <a:t>S-Class</a:t>
                </a:r>
                <a:endParaRPr lang="en-US" altLang="ja-JP" sz="1400" dirty="0">
                  <a:latin typeface="HGMaruGothicMPRO" pitchFamily="34" charset="-128"/>
                  <a:ea typeface="HGMaruGothicMPRO" pitchFamily="34" charset="-128"/>
                </a:endParaRPr>
              </a:p>
            </p:txBody>
          </p:sp>
          <p:sp>
            <p:nvSpPr>
              <p:cNvPr id="38" name="Rectangle 29"/>
              <p:cNvSpPr>
                <a:spLocks noChangeArrowheads="1"/>
              </p:cNvSpPr>
              <p:nvPr/>
            </p:nvSpPr>
            <p:spPr bwMode="auto">
              <a:xfrm>
                <a:off x="7799388" y="3851275"/>
                <a:ext cx="1857375" cy="245268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C0C0C0"/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1pPr>
                <a:lvl2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2pPr>
                <a:lvl3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3pPr>
                <a:lvl4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4pPr>
                <a:lvl5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5pPr>
                <a:lvl6pPr marL="22847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6pPr>
                <a:lvl7pPr marL="27419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7pPr>
                <a:lvl8pPr marL="31991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8pPr>
                <a:lvl9pPr marL="3656330" indent="1905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/>
                    <a:cs typeface="ヒラギノ角ゴ Pro W3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ja-JP" alt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ヒラギノ角ゴ Pro W3"/>
                </a:endParaRPr>
              </a:p>
            </p:txBody>
          </p:sp>
          <p:grpSp>
            <p:nvGrpSpPr>
              <p:cNvPr id="16407" name="グループ化 73"/>
              <p:cNvGrpSpPr/>
              <p:nvPr/>
            </p:nvGrpSpPr>
            <p:grpSpPr>
              <a:xfrm>
                <a:off x="8001000" y="4116388"/>
                <a:ext cx="1474788" cy="2100262"/>
                <a:chOff x="6491288" y="1691308"/>
                <a:chExt cx="1475076" cy="2100508"/>
              </a:xfrm>
            </p:grpSpPr>
            <p:pic>
              <p:nvPicPr>
                <p:cNvPr id="16439" name="Picture 54"/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6491288" y="1691308"/>
                  <a:ext cx="1475076" cy="2100508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  <p:pic>
              <p:nvPicPr>
                <p:cNvPr id="16440" name="Picture 55"/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6621317" y="1814946"/>
                  <a:ext cx="1202505" cy="1610590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</p:pic>
          </p:grpSp>
          <p:grpSp>
            <p:nvGrpSpPr>
              <p:cNvPr id="16408" name="グループ化 74"/>
              <p:cNvGrpSpPr/>
              <p:nvPr/>
            </p:nvGrpSpPr>
            <p:grpSpPr>
              <a:xfrm>
                <a:off x="2751138" y="2781300"/>
                <a:ext cx="5278437" cy="1606550"/>
                <a:chOff x="4419599" y="4710545"/>
                <a:chExt cx="5278582" cy="1607128"/>
              </a:xfrm>
            </p:grpSpPr>
            <p:sp>
              <p:nvSpPr>
                <p:cNvPr id="58" name="円/楕円 85"/>
                <p:cNvSpPr/>
                <p:nvPr/>
              </p:nvSpPr>
              <p:spPr>
                <a:xfrm>
                  <a:off x="4668843" y="5001163"/>
                  <a:ext cx="4751519" cy="1316510"/>
                </a:xfrm>
                <a:prstGeom prst="ellipse">
                  <a:avLst/>
                </a:prstGeom>
                <a:solidFill>
                  <a:schemeClr val="tx2">
                    <a:lumMod val="20000"/>
                    <a:lumOff val="80000"/>
                    <a:alpha val="25000"/>
                  </a:scheme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45529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1" lang="ja-JP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ea typeface="+mn-ea"/>
                    <a:cs typeface="ヒラギノ角ゴ Pro W3"/>
                  </a:endParaRPr>
                </a:p>
              </p:txBody>
            </p:sp>
            <p:sp>
              <p:nvSpPr>
                <p:cNvPr id="59" name="テキスト ボックス 86"/>
                <p:cNvSpPr txBox="1"/>
                <p:nvPr/>
              </p:nvSpPr>
              <p:spPr>
                <a:xfrm>
                  <a:off x="5735779" y="5805054"/>
                  <a:ext cx="3255819" cy="400110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marL="0" marR="0" lvl="0" indent="0" algn="l" defTabSz="45529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1" lang="en-US" altLang="ja-JP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2">
                          <a:lumMod val="75000"/>
                        </a:schemeClr>
                      </a:solidFill>
                      <a:effectLst>
                        <a:glow rad="101600">
                          <a:schemeClr val="tx2">
                            <a:lumMod val="20000"/>
                            <a:lumOff val="80000"/>
                            <a:alpha val="60000"/>
                          </a:schemeClr>
                        </a:glow>
                        <a:reflection blurRad="6350" stA="55000" endA="50" endPos="85000" dist="29997" dir="5400000" sy="-100000" algn="bl" rotWithShape="0"/>
                      </a:effectLst>
                      <a:uLnTx/>
                      <a:uFillTx/>
                      <a:latin typeface="HG丸ｺﾞｼｯｸM-PRO" pitchFamily="50" charset="-128"/>
                      <a:ea typeface="HG丸ｺﾞｼｯｸM-PRO" pitchFamily="50" charset="-128"/>
                      <a:cs typeface="+mn-cs"/>
                    </a:rPr>
                    <a:t>Innovation</a:t>
                  </a:r>
                  <a:r>
                    <a:rPr kumimoji="1" lang="ja-JP" altLang="en-US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2">
                          <a:lumMod val="75000"/>
                        </a:schemeClr>
                      </a:solidFill>
                      <a:effectLst>
                        <a:glow rad="101600">
                          <a:schemeClr val="tx2">
                            <a:lumMod val="20000"/>
                            <a:lumOff val="80000"/>
                            <a:alpha val="60000"/>
                          </a:schemeClr>
                        </a:glow>
                        <a:reflection blurRad="6350" stA="55000" endA="50" endPos="85000" dist="29997" dir="5400000" sy="-100000" algn="bl" rotWithShape="0"/>
                      </a:effectLst>
                      <a:uLnTx/>
                      <a:uFillTx/>
                      <a:latin typeface="HG丸ｺﾞｼｯｸM-PRO" pitchFamily="50" charset="-128"/>
                      <a:ea typeface="HG丸ｺﾞｼｯｸM-PRO" pitchFamily="50" charset="-128"/>
                      <a:cs typeface="+mn-cs"/>
                    </a:rPr>
                    <a:t>　</a:t>
                  </a:r>
                  <a:r>
                    <a:rPr kumimoji="1" lang="en-US" altLang="ja-JP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2">
                          <a:lumMod val="75000"/>
                        </a:schemeClr>
                      </a:solidFill>
                      <a:effectLst>
                        <a:glow rad="101600">
                          <a:schemeClr val="tx2">
                            <a:lumMod val="20000"/>
                            <a:lumOff val="80000"/>
                            <a:alpha val="60000"/>
                          </a:schemeClr>
                        </a:glow>
                        <a:reflection blurRad="6350" stA="55000" endA="50" endPos="85000" dist="29997" dir="5400000" sy="-100000" algn="bl" rotWithShape="0"/>
                      </a:effectLst>
                      <a:uLnTx/>
                      <a:uFillTx/>
                      <a:latin typeface="HG丸ｺﾞｼｯｸM-PRO" pitchFamily="50" charset="-128"/>
                      <a:ea typeface="HG丸ｺﾞｼｯｸM-PRO" pitchFamily="50" charset="-128"/>
                      <a:cs typeface="+mn-cs"/>
                    </a:rPr>
                    <a:t>Vehicle</a:t>
                  </a:r>
                  <a:endParaRPr kumimoji="1" lang="ja-JP" alt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>
                      <a:glow rad="101600">
                        <a:schemeClr val="tx2">
                          <a:lumMod val="20000"/>
                          <a:lumOff val="80000"/>
                          <a:alpha val="60000"/>
                        </a:schemeClr>
                      </a:glow>
                      <a:reflection blurRad="6350" stA="55000" endA="50" endPos="85000" dist="29997" dir="5400000" sy="-100000" algn="bl" rotWithShape="0"/>
                    </a:effectLst>
                    <a:uLnTx/>
                    <a:uFillTx/>
                    <a:latin typeface="HG丸ｺﾞｼｯｸM-PRO" pitchFamily="50" charset="-128"/>
                    <a:ea typeface="HG丸ｺﾞｼｯｸM-PRO" pitchFamily="50" charset="-128"/>
                    <a:cs typeface="+mn-cs"/>
                  </a:endParaRPr>
                </a:p>
              </p:txBody>
            </p:sp>
            <p:grpSp>
              <p:nvGrpSpPr>
                <p:cNvPr id="16428" name="グループ化 68"/>
                <p:cNvGrpSpPr/>
                <p:nvPr/>
              </p:nvGrpSpPr>
              <p:grpSpPr>
                <a:xfrm>
                  <a:off x="7384471" y="4710545"/>
                  <a:ext cx="983673" cy="623461"/>
                  <a:chOff x="7453746" y="4710545"/>
                  <a:chExt cx="983673" cy="623461"/>
                </a:xfrm>
              </p:grpSpPr>
              <p:sp>
                <p:nvSpPr>
                  <p:cNvPr id="71" name="直方体 98"/>
                  <p:cNvSpPr/>
                  <p:nvPr/>
                </p:nvSpPr>
                <p:spPr>
                  <a:xfrm>
                    <a:off x="7454405" y="4710545"/>
                    <a:ext cx="982689" cy="624112"/>
                  </a:xfrm>
                  <a:prstGeom prst="cube">
                    <a:avLst>
                      <a:gd name="adj" fmla="val 10714"/>
                    </a:avLst>
                  </a:prstGeom>
                  <a:solidFill>
                    <a:schemeClr val="bg1"/>
                  </a:solidFill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45529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1" lang="ja-JP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ヒラギノ角ゴ Pro W3"/>
                    </a:endParaRPr>
                  </a:p>
                </p:txBody>
              </p:sp>
              <p:pic>
                <p:nvPicPr>
                  <p:cNvPr id="16438" name="Picture 8"/>
                  <p:cNvPicPr>
                    <a:picLocks noChangeAspect="1"/>
                  </p:cNvPicPr>
                  <p:nvPr/>
                </p:nvPicPr>
                <p:blipFill>
                  <a:blip r:embed="rId14"/>
                  <a:stretch>
                    <a:fillRect/>
                  </a:stretch>
                </p:blipFill>
                <p:spPr>
                  <a:xfrm>
                    <a:off x="7468323" y="4877098"/>
                    <a:ext cx="872511" cy="346074"/>
                  </a:xfrm>
                  <a:prstGeom prst="rect">
                    <a:avLst/>
                  </a:prstGeom>
                  <a:noFill/>
                  <a:ln w="9525">
                    <a:noFill/>
                  </a:ln>
                </p:spPr>
              </p:pic>
            </p:grpSp>
            <p:sp>
              <p:nvSpPr>
                <p:cNvPr id="16429" name="テキスト ボックス 88"/>
                <p:cNvSpPr txBox="1"/>
                <p:nvPr/>
              </p:nvSpPr>
              <p:spPr>
                <a:xfrm>
                  <a:off x="5348312" y="5487112"/>
                  <a:ext cx="3822805" cy="308086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>
                  <a:spAutoFit/>
                </a:bodyPr>
                <a:lstStyle/>
                <a:p>
                  <a:pPr lvl="0" eaLnBrk="1" hangingPunct="1"/>
                  <a:r>
                    <a:rPr lang="ja-JP" altLang="en-US" sz="1400" b="1" dirty="0">
                      <a:solidFill>
                        <a:srgbClr val="17375E"/>
                      </a:solidFill>
                      <a:latin typeface="HGMaruGothicMPRO" pitchFamily="34" charset="-128"/>
                      <a:ea typeface="HGMaruGothicMPRO" pitchFamily="34" charset="-128"/>
                    </a:rPr>
                    <a:t>ジパンディスプレイが誇る高い技術力</a:t>
                  </a:r>
                  <a:endParaRPr lang="en-US" altLang="ja-JP" sz="1400" b="1" dirty="0">
                    <a:solidFill>
                      <a:srgbClr val="17375E"/>
                    </a:solidFill>
                    <a:latin typeface="HGMaruGothicMPRO" pitchFamily="34" charset="-128"/>
                    <a:ea typeface="HGMaruGothicMPRO" pitchFamily="34" charset="-128"/>
                  </a:endParaRPr>
                </a:p>
              </p:txBody>
            </p:sp>
            <p:grpSp>
              <p:nvGrpSpPr>
                <p:cNvPr id="16430" name="グループ化 73"/>
                <p:cNvGrpSpPr/>
                <p:nvPr/>
              </p:nvGrpSpPr>
              <p:grpSpPr>
                <a:xfrm>
                  <a:off x="4419599" y="5264728"/>
                  <a:ext cx="955963" cy="997527"/>
                  <a:chOff x="4419599" y="5264728"/>
                  <a:chExt cx="955963" cy="997527"/>
                </a:xfrm>
              </p:grpSpPr>
              <p:sp>
                <p:nvSpPr>
                  <p:cNvPr id="69" name="直方体 96"/>
                  <p:cNvSpPr/>
                  <p:nvPr/>
                </p:nvSpPr>
                <p:spPr>
                  <a:xfrm flipH="1">
                    <a:off x="4419599" y="5264782"/>
                    <a:ext cx="955701" cy="997309"/>
                  </a:xfrm>
                  <a:prstGeom prst="cube">
                    <a:avLst>
                      <a:gd name="adj" fmla="val 10714"/>
                    </a:avLst>
                  </a:prstGeom>
                  <a:solidFill>
                    <a:schemeClr val="bg1"/>
                  </a:solidFill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45529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1" lang="ja-JP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ヒラギノ角ゴ Pro W3"/>
                    </a:endParaRPr>
                  </a:p>
                </p:txBody>
              </p:sp>
              <p:pic>
                <p:nvPicPr>
                  <p:cNvPr id="16436" name="Picture 36"/>
                  <p:cNvPicPr>
                    <a:picLocks noChangeAspect="1"/>
                  </p:cNvPicPr>
                  <p:nvPr/>
                </p:nvPicPr>
                <p:blipFill>
                  <a:blip r:embed="rId15"/>
                  <a:stretch>
                    <a:fillRect/>
                  </a:stretch>
                </p:blipFill>
                <p:spPr>
                  <a:xfrm>
                    <a:off x="4704484" y="5423218"/>
                    <a:ext cx="518680" cy="831677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</a:ln>
                </p:spPr>
              </p:pic>
            </p:grpSp>
            <p:grpSp>
              <p:nvGrpSpPr>
                <p:cNvPr id="12" name="グループ化 69"/>
                <p:cNvGrpSpPr/>
                <p:nvPr/>
              </p:nvGrpSpPr>
              <p:grpSpPr>
                <a:xfrm>
                  <a:off x="8742218" y="5250874"/>
                  <a:ext cx="955963" cy="997527"/>
                  <a:chOff x="8742218" y="5250874"/>
                  <a:chExt cx="955963" cy="997527"/>
                </a:xfrm>
                <a:solidFill>
                  <a:schemeClr val="bg1"/>
                </a:solidFill>
              </p:grpSpPr>
              <p:sp>
                <p:nvSpPr>
                  <p:cNvPr id="67" name="直方体 94"/>
                  <p:cNvSpPr/>
                  <p:nvPr/>
                </p:nvSpPr>
                <p:spPr>
                  <a:xfrm>
                    <a:off x="8742218" y="5250874"/>
                    <a:ext cx="955963" cy="997527"/>
                  </a:xfrm>
                  <a:prstGeom prst="cube">
                    <a:avLst>
                      <a:gd name="adj" fmla="val 10714"/>
                    </a:avLst>
                  </a:prstGeom>
                  <a:grpFill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45529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1" lang="ja-JP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lt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pic>
                <p:nvPicPr>
                  <p:cNvPr id="68" name="Picture 37">
                    <a:hlinkClick r:id="rId16" action="ppaction://hlinkfile"/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7"/>
                  <a:srcRect/>
                  <a:stretch>
                    <a:fillRect/>
                  </a:stretch>
                </p:blipFill>
                <p:spPr bwMode="auto">
                  <a:xfrm>
                    <a:off x="8773824" y="5458258"/>
                    <a:ext cx="809625" cy="485775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  <p:grpSp>
              <p:nvGrpSpPr>
                <p:cNvPr id="16432" name="グループ化 71"/>
                <p:cNvGrpSpPr/>
                <p:nvPr/>
              </p:nvGrpSpPr>
              <p:grpSpPr>
                <a:xfrm>
                  <a:off x="5764249" y="4724837"/>
                  <a:ext cx="968401" cy="622524"/>
                  <a:chOff x="5916654" y="4752547"/>
                  <a:chExt cx="968401" cy="622524"/>
                </a:xfrm>
              </p:grpSpPr>
              <p:sp>
                <p:nvSpPr>
                  <p:cNvPr id="65" name="直方体 92"/>
                  <p:cNvSpPr/>
                  <p:nvPr/>
                </p:nvSpPr>
                <p:spPr>
                  <a:xfrm flipH="1">
                    <a:off x="5916653" y="4752548"/>
                    <a:ext cx="968402" cy="622524"/>
                  </a:xfrm>
                  <a:prstGeom prst="cube">
                    <a:avLst>
                      <a:gd name="adj" fmla="val 10714"/>
                    </a:avLst>
                  </a:prstGeom>
                  <a:solidFill>
                    <a:schemeClr val="bg1"/>
                  </a:solidFill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45529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1" lang="ja-JP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ヒラギノ角ゴ Pro W3"/>
                    </a:endParaRPr>
                  </a:p>
                </p:txBody>
              </p:sp>
              <p:pic>
                <p:nvPicPr>
                  <p:cNvPr id="16434" name="Picture 9"/>
                  <p:cNvPicPr>
                    <a:picLocks noChangeAspect="1"/>
                  </p:cNvPicPr>
                  <p:nvPr/>
                </p:nvPicPr>
                <p:blipFill>
                  <a:blip r:embed="rId18"/>
                  <a:stretch>
                    <a:fillRect/>
                  </a:stretch>
                </p:blipFill>
                <p:spPr>
                  <a:xfrm>
                    <a:off x="6025448" y="4934962"/>
                    <a:ext cx="842810" cy="315921"/>
                  </a:xfrm>
                  <a:prstGeom prst="rect">
                    <a:avLst/>
                  </a:prstGeom>
                  <a:noFill/>
                  <a:ln w="9525">
                    <a:noFill/>
                  </a:ln>
                </p:spPr>
              </p:pic>
            </p:grpSp>
          </p:grpSp>
          <p:pic>
            <p:nvPicPr>
              <p:cNvPr id="16409" name="Picture 9"/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6308725" y="1128713"/>
                <a:ext cx="619125" cy="112712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0" name="Picture 18" descr="ソニー"/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6294438" y="2327275"/>
                <a:ext cx="660400" cy="13017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1" name="Picture 56"/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7673975" y="1093788"/>
                <a:ext cx="1720850" cy="1039812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2" name="Picture 18" descr="ソニー"/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8870950" y="1066800"/>
                <a:ext cx="661988" cy="130175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3" name="Picture 58"/>
              <p:cNvPicPr>
                <a:picLocks noChangeAspect="1"/>
              </p:cNvPicPr>
              <p:nvPr/>
            </p:nvPicPr>
            <p:blipFill>
              <a:blip r:embed="rId22"/>
              <a:stretch>
                <a:fillRect/>
              </a:stretch>
            </p:blipFill>
            <p:spPr>
              <a:xfrm>
                <a:off x="8232775" y="2151063"/>
                <a:ext cx="1271588" cy="1004887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4" name="Picture 57"/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7650163" y="2843213"/>
                <a:ext cx="619125" cy="22860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5" name="Picture 2"/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433388" y="3394075"/>
                <a:ext cx="1973262" cy="102235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6" name="Picture 4"/>
              <p:cNvPicPr>
                <a:picLocks noChangeAspect="1"/>
              </p:cNvPicPr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433388" y="4716463"/>
                <a:ext cx="1489075" cy="819150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7" name="Picture 5"/>
              <p:cNvPicPr>
                <a:picLocks noChangeAspect="1"/>
              </p:cNvPicPr>
              <p:nvPr/>
            </p:nvPicPr>
            <p:blipFill>
              <a:blip r:embed="rId26"/>
              <a:stretch>
                <a:fillRect/>
              </a:stretch>
            </p:blipFill>
            <p:spPr>
              <a:xfrm>
                <a:off x="2035175" y="4543425"/>
                <a:ext cx="1314450" cy="992188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8" name="図 1"/>
              <p:cNvPicPr>
                <a:picLocks noChangeAspect="1"/>
              </p:cNvPicPr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4051300" y="4543425"/>
                <a:ext cx="1524000" cy="1141413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pic>
            <p:nvPicPr>
              <p:cNvPr id="16419" name="Picture 4"/>
              <p:cNvPicPr>
                <a:picLocks noChangeAspect="1"/>
              </p:cNvPicPr>
              <p:nvPr/>
            </p:nvPicPr>
            <p:blipFill>
              <a:blip r:embed="rId28"/>
              <a:stretch>
                <a:fillRect/>
              </a:stretch>
            </p:blipFill>
            <p:spPr>
              <a:xfrm>
                <a:off x="4291013" y="5487988"/>
                <a:ext cx="1471612" cy="735012"/>
              </a:xfrm>
              <a:prstGeom prst="rect">
                <a:avLst/>
              </a:prstGeom>
              <a:noFill/>
              <a:ln w="9525">
                <a:noFill/>
              </a:ln>
            </p:spPr>
          </p:pic>
          <p:sp>
            <p:nvSpPr>
              <p:cNvPr id="16420" name="Text Box 24"/>
              <p:cNvSpPr txBox="1"/>
              <p:nvPr/>
            </p:nvSpPr>
            <p:spPr>
              <a:xfrm>
                <a:off x="4705350" y="4500563"/>
                <a:ext cx="2990850" cy="307975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>
                <a:spAutoFit/>
              </a:bodyPr>
              <a:lstStyle/>
              <a:p>
                <a:pPr marL="628650" lvl="0" indent="-177800" defTabSz="914400" eaLnBrk="1" hangingPunct="1">
                  <a:spcBef>
                    <a:spcPct val="50000"/>
                  </a:spcBef>
                </a:pPr>
                <a:r>
                  <a:rPr lang="ja-JP" altLang="en-US" sz="1400" b="1" dirty="0">
                    <a:latin typeface="HGMaruGothicMPRO" pitchFamily="34" charset="-128"/>
                    <a:ea typeface="HGMaruGothicMPRO" pitchFamily="34" charset="-128"/>
                  </a:rPr>
                  <a:t>三菱 </a:t>
                </a:r>
                <a:r>
                  <a:rPr lang="en-US" altLang="ja-JP" sz="1400" b="1" dirty="0">
                    <a:latin typeface="HGMaruGothicMPRO" pitchFamily="34" charset="-128"/>
                    <a:ea typeface="HGMaruGothicMPRO" pitchFamily="34" charset="-128"/>
                  </a:rPr>
                  <a:t>RVR/</a:t>
                </a:r>
                <a:r>
                  <a:rPr lang="ja-JP" altLang="en-US" sz="1400" b="1" dirty="0">
                    <a:latin typeface="HGMaruGothicMPRO" pitchFamily="34" charset="-128"/>
                    <a:ea typeface="HGMaruGothicMPRO" pitchFamily="34" charset="-128"/>
                  </a:rPr>
                  <a:t>デリカ</a:t>
                </a:r>
                <a:endParaRPr lang="ja-JP" altLang="en-US" sz="1400" b="1" dirty="0">
                  <a:latin typeface="HGMaruGothicMPRO" pitchFamily="34" charset="-128"/>
                  <a:ea typeface="HGMaruGothicMPRO" pitchFamily="34" charset="-128"/>
                </a:endParaRPr>
              </a:p>
            </p:txBody>
          </p:sp>
          <p:sp>
            <p:nvSpPr>
              <p:cNvPr id="16421" name="テキスト ボックス 28"/>
              <p:cNvSpPr txBox="1"/>
              <p:nvPr/>
            </p:nvSpPr>
            <p:spPr>
              <a:xfrm>
                <a:off x="8618538" y="6488113"/>
                <a:ext cx="815975" cy="215900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lIns="91438" tIns="45718" rIns="91438" bIns="45718">
                <a:spAutoFit/>
              </a:bodyPr>
              <a:lstStyle/>
              <a:p>
                <a:pPr lvl="0" eaLnBrk="1" hangingPunct="1"/>
                <a:r>
                  <a:rPr lang="en-US" altLang="ja-JP" sz="800" b="1" dirty="0">
                    <a:solidFill>
                      <a:srgbClr val="FF0000"/>
                    </a:solidFill>
                    <a:latin typeface="Arial" panose="020B0604020202020204" pitchFamily="34" charset="0"/>
                    <a:ea typeface="Arial" panose="020B0604020202020204" pitchFamily="34" charset="0"/>
                  </a:rPr>
                  <a:t>Confidential</a:t>
                </a:r>
                <a:endParaRPr lang="ja-JP" altLang="en-US" sz="800" b="1" dirty="0">
                  <a:solidFill>
                    <a:srgbClr val="FF0000"/>
                  </a:solidFill>
                  <a:latin typeface="Arial" panose="020B0604020202020204" pitchFamily="34" charset="0"/>
                  <a:ea typeface="Arial" panose="020B0604020202020204" pitchFamily="34" charset="0"/>
                </a:endParaRPr>
              </a:p>
            </p:txBody>
          </p:sp>
          <p:sp>
            <p:nvSpPr>
              <p:cNvPr id="16422" name="TextBox 1"/>
              <p:cNvSpPr txBox="1"/>
              <p:nvPr/>
            </p:nvSpPr>
            <p:spPr>
              <a:xfrm>
                <a:off x="669925" y="5889956"/>
                <a:ext cx="2330450" cy="36933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txBody>
              <a:bodyPr>
                <a:spAutoFit/>
              </a:bodyPr>
              <a:lstStyle/>
              <a:p>
                <a:pPr lvl="0" eaLnBrk="1" hangingPunct="1"/>
                <a:endParaRPr lang="zh-CN" altLang="en-US" dirty="0">
                  <a:latin typeface="Arial" panose="020B0604020202020204" pitchFamily="34" charset="0"/>
                  <a:ea typeface="ヒラギノ角ゴ Pro W3"/>
                </a:endParaRPr>
              </a:p>
            </p:txBody>
          </p:sp>
          <p:sp>
            <p:nvSpPr>
              <p:cNvPr id="16423" name="TextBox 61"/>
              <p:cNvSpPr txBox="1"/>
              <p:nvPr/>
            </p:nvSpPr>
            <p:spPr>
              <a:xfrm>
                <a:off x="1638300" y="971571"/>
                <a:ext cx="1657048" cy="64633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txBody>
              <a:bodyPr>
                <a:spAutoFit/>
              </a:bodyPr>
              <a:lstStyle/>
              <a:p>
                <a:pPr lvl="0" eaLnBrk="1" hangingPunct="1"/>
                <a:endParaRPr lang="en-US" altLang="zh-CN" dirty="0">
                  <a:latin typeface="Arial" panose="020B0604020202020204" pitchFamily="34" charset="0"/>
                  <a:ea typeface="ヒラギノ角ゴ Pro W3"/>
                </a:endParaRPr>
              </a:p>
              <a:p>
                <a:pPr lvl="0" eaLnBrk="1" hangingPunct="1"/>
                <a:endParaRPr lang="zh-CN" altLang="en-US" dirty="0">
                  <a:latin typeface="Arial" panose="020B0604020202020204" pitchFamily="34" charset="0"/>
                  <a:ea typeface="ヒラギノ角ゴ Pro W3"/>
                </a:endParaRPr>
              </a:p>
            </p:txBody>
          </p:sp>
          <p:sp>
            <p:nvSpPr>
              <p:cNvPr id="16424" name="TextBox 62"/>
              <p:cNvSpPr txBox="1"/>
              <p:nvPr/>
            </p:nvSpPr>
            <p:spPr>
              <a:xfrm>
                <a:off x="8870951" y="942159"/>
                <a:ext cx="771172" cy="307777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txBody>
              <a:bodyPr>
                <a:spAutoFit/>
              </a:bodyPr>
              <a:lstStyle/>
              <a:p>
                <a:pPr lvl="0" eaLnBrk="1" hangingPunct="1"/>
                <a:endParaRPr lang="zh-CN" altLang="en-US" sz="1400" dirty="0">
                  <a:latin typeface="Arial" panose="020B0604020202020204" pitchFamily="34" charset="0"/>
                  <a:ea typeface="ヒラギノ角ゴ Pro W3"/>
                </a:endParaRPr>
              </a:p>
            </p:txBody>
          </p:sp>
          <p:sp>
            <p:nvSpPr>
              <p:cNvPr id="16425" name="TextBox 63"/>
              <p:cNvSpPr txBox="1"/>
              <p:nvPr/>
            </p:nvSpPr>
            <p:spPr>
              <a:xfrm>
                <a:off x="5251450" y="4531797"/>
                <a:ext cx="1666875" cy="276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txBody>
              <a:bodyPr>
                <a:spAutoFit/>
              </a:bodyPr>
              <a:lstStyle/>
              <a:p>
                <a:pPr lvl="0" eaLnBrk="1" hangingPunct="1"/>
                <a:endParaRPr lang="zh-CN" altLang="en-US" sz="1200" dirty="0">
                  <a:latin typeface="Arial" panose="020B0604020202020204" pitchFamily="34" charset="0"/>
                  <a:ea typeface="ヒラギノ角ゴ Pro W3"/>
                </a:endParaRPr>
              </a:p>
            </p:txBody>
          </p:sp>
        </p:grpSp>
        <p:sp>
          <p:nvSpPr>
            <p:cNvPr id="16389" name="TextBox 65"/>
            <p:cNvSpPr txBox="1"/>
            <p:nvPr/>
          </p:nvSpPr>
          <p:spPr>
            <a:xfrm>
              <a:off x="7551606" y="2781300"/>
              <a:ext cx="832373" cy="36933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>
              <a:spAutoFit/>
            </a:bodyPr>
            <a:lstStyle/>
            <a:p>
              <a:pPr lvl="0" eaLnBrk="1" hangingPunct="1"/>
              <a:endParaRPr lang="zh-CN" altLang="en-US" dirty="0">
                <a:latin typeface="Arial" panose="020B0604020202020204" pitchFamily="34" charset="0"/>
                <a:ea typeface="ヒラギノ角ゴ Pro W3"/>
              </a:endParaRPr>
            </a:p>
          </p:txBody>
        </p:sp>
        <p:sp>
          <p:nvSpPr>
            <p:cNvPr id="16390" name="TextBox 66"/>
            <p:cNvSpPr txBox="1"/>
            <p:nvPr/>
          </p:nvSpPr>
          <p:spPr>
            <a:xfrm>
              <a:off x="5376069" y="2250179"/>
              <a:ext cx="1578769" cy="36933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>
              <a:spAutoFit/>
            </a:bodyPr>
            <a:lstStyle/>
            <a:p>
              <a:pPr lvl="0" eaLnBrk="1" hangingPunct="1"/>
              <a:endParaRPr lang="zh-CN" altLang="en-US" dirty="0">
                <a:latin typeface="Arial" panose="020B0604020202020204" pitchFamily="34" charset="0"/>
                <a:ea typeface="ヒラギノ角ゴ Pro W3"/>
              </a:endParaRPr>
            </a:p>
          </p:txBody>
        </p:sp>
        <p:sp>
          <p:nvSpPr>
            <p:cNvPr id="16391" name="TextBox 67"/>
            <p:cNvSpPr txBox="1"/>
            <p:nvPr/>
          </p:nvSpPr>
          <p:spPr>
            <a:xfrm>
              <a:off x="4522490" y="1589944"/>
              <a:ext cx="356441" cy="23083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>
              <a:spAutoFit/>
            </a:bodyPr>
            <a:lstStyle/>
            <a:p>
              <a:pPr lvl="0" eaLnBrk="1" hangingPunct="1"/>
              <a:endParaRPr lang="zh-CN" altLang="en-US" sz="900" dirty="0">
                <a:latin typeface="Arial" panose="020B0604020202020204" pitchFamily="34" charset="0"/>
                <a:ea typeface="ヒラギノ角ゴ Pro W3"/>
              </a:endParaRPr>
            </a:p>
          </p:txBody>
        </p:sp>
        <p:sp>
          <p:nvSpPr>
            <p:cNvPr id="16392" name="TextBox 68"/>
            <p:cNvSpPr txBox="1"/>
            <p:nvPr/>
          </p:nvSpPr>
          <p:spPr>
            <a:xfrm>
              <a:off x="4498660" y="2401243"/>
              <a:ext cx="380271" cy="17527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>
              <a:spAutoFit/>
            </a:bodyPr>
            <a:lstStyle/>
            <a:p>
              <a:pPr lvl="0" eaLnBrk="1" hangingPunct="1"/>
              <a:endParaRPr lang="zh-CN" altLang="en-US" sz="900" dirty="0">
                <a:latin typeface="Arial" panose="020B0604020202020204" pitchFamily="34" charset="0"/>
                <a:ea typeface="ヒラギノ角ゴ Pro W3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3"/>
          <p:cNvSpPr/>
          <p:nvPr/>
        </p:nvSpPr>
        <p:spPr>
          <a:xfrm>
            <a:off x="0" y="131763"/>
            <a:ext cx="3079750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认证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11" name="Text Box 4"/>
          <p:cNvSpPr txBox="1"/>
          <p:nvPr/>
        </p:nvSpPr>
        <p:spPr>
          <a:xfrm>
            <a:off x="577850" y="5702300"/>
            <a:ext cx="8997950" cy="79692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向每名员工贯彻品质，环境和安全的理念，</a:t>
            </a:r>
            <a:endParaRPr lang="ja-JP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r" eaLnBrk="1" hangingPunct="1">
              <a:spcBef>
                <a:spcPct val="50000"/>
              </a:spcBef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致力于打造为客户所信赖，被员工所爱戴，对环境友好的企业形象</a:t>
            </a:r>
            <a:endParaRPr lang="ja-JP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7412" name="Group 5"/>
          <p:cNvGrpSpPr/>
          <p:nvPr/>
        </p:nvGrpSpPr>
        <p:grpSpPr>
          <a:xfrm>
            <a:off x="990600" y="1219200"/>
            <a:ext cx="7959725" cy="4268788"/>
            <a:chOff x="576" y="768"/>
            <a:chExt cx="4628" cy="2689"/>
          </a:xfrm>
        </p:grpSpPr>
        <p:sp>
          <p:nvSpPr>
            <p:cNvPr id="17413" name="Rectangle 6"/>
            <p:cNvSpPr/>
            <p:nvPr/>
          </p:nvSpPr>
          <p:spPr>
            <a:xfrm>
              <a:off x="576" y="768"/>
              <a:ext cx="4628" cy="2658"/>
            </a:xfrm>
            <a:prstGeom prst="rect">
              <a:avLst/>
            </a:prstGeom>
            <a:gradFill rotWithShape="0">
              <a:gsLst>
                <a:gs pos="0">
                  <a:srgbClr val="E0F0FF"/>
                </a:gs>
                <a:gs pos="100000">
                  <a:srgbClr val="99CCFF"/>
                </a:gs>
              </a:gsLst>
              <a:lin ang="5400000" scaled="1"/>
              <a:tileRect/>
            </a:gradFill>
            <a:ln w="38100" cap="flat" cmpd="sng">
              <a:solidFill>
                <a:schemeClr val="tx2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90000" tIns="46800" rIns="90000" bIns="46800" anchor="ctr">
              <a:spAutoFit/>
            </a:bodyPr>
            <a:lstStyle/>
            <a:p>
              <a:pPr lvl="0" eaLnBrk="1" hangingPunct="1"/>
              <a:endParaRPr lang="zh-CN" altLang="en-US" dirty="0">
                <a:latin typeface="Arial" panose="020B0604020202020204" pitchFamily="34" charset="0"/>
                <a:ea typeface="ヒラギノ角ゴ Pro W3"/>
              </a:endParaRPr>
            </a:p>
          </p:txBody>
        </p:sp>
        <p:sp>
          <p:nvSpPr>
            <p:cNvPr id="19463" name="Text Box 7"/>
            <p:cNvSpPr txBox="1">
              <a:spLocks noChangeArrowheads="1"/>
            </p:cNvSpPr>
            <p:nvPr/>
          </p:nvSpPr>
          <p:spPr bwMode="auto">
            <a:xfrm>
              <a:off x="1920" y="816"/>
              <a:ext cx="882" cy="2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取得项目</a:t>
              </a:r>
              <a:endParaRPr kumimoji="1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64" name="Text Box 8"/>
            <p:cNvSpPr txBox="1">
              <a:spLocks noChangeArrowheads="1"/>
            </p:cNvSpPr>
            <p:nvPr/>
          </p:nvSpPr>
          <p:spPr bwMode="auto">
            <a:xfrm>
              <a:off x="3168" y="816"/>
              <a:ext cx="882" cy="2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取得年月</a:t>
              </a:r>
              <a:endParaRPr kumimoji="1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65" name="Text Box 9"/>
            <p:cNvSpPr txBox="1">
              <a:spLocks noChangeArrowheads="1"/>
            </p:cNvSpPr>
            <p:nvPr/>
          </p:nvSpPr>
          <p:spPr bwMode="auto">
            <a:xfrm>
              <a:off x="4272" y="816"/>
              <a:ext cx="882" cy="2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认证机构</a:t>
              </a:r>
              <a:endParaRPr kumimoji="1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66" name="Text Box 10"/>
            <p:cNvSpPr txBox="1">
              <a:spLocks noChangeArrowheads="1"/>
            </p:cNvSpPr>
            <p:nvPr/>
          </p:nvSpPr>
          <p:spPr bwMode="auto">
            <a:xfrm>
              <a:off x="948" y="1309"/>
              <a:ext cx="460" cy="12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eaVert"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36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黑体" panose="02010609060101010101" pitchFamily="49" charset="-122"/>
                  <a:ea typeface="黑体" panose="02010609060101010101" pitchFamily="49" charset="-122"/>
                  <a:cs typeface="ヒラギノ角ゴ Pro W3"/>
                </a:rPr>
                <a:t>品    质</a:t>
              </a:r>
              <a:endParaRPr kumimoji="1" lang="zh-CN" altLang="en-US" sz="3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ヒラギノ角ゴ Pro W3"/>
              </a:endParaRPr>
            </a:p>
          </p:txBody>
        </p:sp>
        <p:sp>
          <p:nvSpPr>
            <p:cNvPr id="19467" name="Text Box 11"/>
            <p:cNvSpPr txBox="1">
              <a:spLocks noChangeArrowheads="1"/>
            </p:cNvSpPr>
            <p:nvPr/>
          </p:nvSpPr>
          <p:spPr bwMode="auto">
            <a:xfrm>
              <a:off x="816" y="2688"/>
              <a:ext cx="692" cy="40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36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黑体" panose="02010609060101010101" pitchFamily="49" charset="-122"/>
                  <a:cs typeface="ヒラギノ角ゴ Pro W3"/>
                </a:rPr>
                <a:t>环境</a:t>
              </a:r>
              <a:endParaRPr kumimoji="1" lang="zh-CN" altLang="en-US" sz="3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黑体" panose="02010609060101010101" pitchFamily="49" charset="-122"/>
                <a:cs typeface="ヒラギノ角ゴ Pro W3"/>
              </a:endParaRPr>
            </a:p>
          </p:txBody>
        </p:sp>
        <p:sp>
          <p:nvSpPr>
            <p:cNvPr id="19468" name="Text Box 12"/>
            <p:cNvSpPr txBox="1">
              <a:spLocks noChangeArrowheads="1"/>
            </p:cNvSpPr>
            <p:nvPr/>
          </p:nvSpPr>
          <p:spPr bwMode="auto">
            <a:xfrm>
              <a:off x="842" y="3053"/>
              <a:ext cx="692" cy="40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36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黑体" panose="02010609060101010101" pitchFamily="49" charset="-122"/>
                  <a:cs typeface="ヒラギノ角ゴ Pro W3"/>
                </a:rPr>
                <a:t>安全</a:t>
              </a:r>
              <a:endParaRPr kumimoji="1" lang="zh-CN" altLang="en-US" sz="3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黑体" panose="02010609060101010101" pitchFamily="49" charset="-122"/>
                <a:cs typeface="ヒラギノ角ゴ Pro W3"/>
              </a:endParaRPr>
            </a:p>
          </p:txBody>
        </p:sp>
        <p:sp>
          <p:nvSpPr>
            <p:cNvPr id="19469" name="Text Box 13"/>
            <p:cNvSpPr txBox="1">
              <a:spLocks noChangeArrowheads="1"/>
            </p:cNvSpPr>
            <p:nvPr/>
          </p:nvSpPr>
          <p:spPr bwMode="auto">
            <a:xfrm>
              <a:off x="1920" y="1152"/>
              <a:ext cx="894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ISO9001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0" name="Text Box 14"/>
            <p:cNvSpPr txBox="1">
              <a:spLocks noChangeArrowheads="1"/>
            </p:cNvSpPr>
            <p:nvPr/>
          </p:nvSpPr>
          <p:spPr bwMode="auto">
            <a:xfrm>
              <a:off x="1968" y="1488"/>
              <a:ext cx="809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QS9000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1" name="Text Box 15"/>
            <p:cNvSpPr txBox="1">
              <a:spLocks noChangeArrowheads="1"/>
            </p:cNvSpPr>
            <p:nvPr/>
          </p:nvSpPr>
          <p:spPr bwMode="auto">
            <a:xfrm>
              <a:off x="1872" y="1776"/>
              <a:ext cx="1076" cy="4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ISO9001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(2000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年版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)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2" name="Text Box 16"/>
            <p:cNvSpPr txBox="1">
              <a:spLocks noChangeArrowheads="1"/>
            </p:cNvSpPr>
            <p:nvPr/>
          </p:nvSpPr>
          <p:spPr bwMode="auto">
            <a:xfrm>
              <a:off x="3024" y="1152"/>
              <a:ext cx="1020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  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98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年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07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月</a:t>
              </a:r>
              <a:endParaRPr kumimoji="1" lang="ja-JP" altLang="en-US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3" name="Text Box 17"/>
            <p:cNvSpPr txBox="1">
              <a:spLocks noChangeArrowheads="1"/>
            </p:cNvSpPr>
            <p:nvPr/>
          </p:nvSpPr>
          <p:spPr bwMode="auto">
            <a:xfrm>
              <a:off x="3024" y="1488"/>
              <a:ext cx="1020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  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00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年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10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月</a:t>
              </a:r>
              <a:endParaRPr kumimoji="1" lang="ja-JP" altLang="en-US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4" name="Text Box 18"/>
            <p:cNvSpPr txBox="1">
              <a:spLocks noChangeArrowheads="1"/>
            </p:cNvSpPr>
            <p:nvPr/>
          </p:nvSpPr>
          <p:spPr bwMode="auto">
            <a:xfrm>
              <a:off x="2976" y="1920"/>
              <a:ext cx="1124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   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04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年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01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月 </a:t>
              </a:r>
              <a:endParaRPr kumimoji="1" lang="ja-JP" altLang="en-US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5" name="Text Box 19"/>
            <p:cNvSpPr txBox="1">
              <a:spLocks noChangeArrowheads="1"/>
            </p:cNvSpPr>
            <p:nvPr/>
          </p:nvSpPr>
          <p:spPr bwMode="auto">
            <a:xfrm>
              <a:off x="1924" y="2779"/>
              <a:ext cx="1006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ISO14001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6" name="Text Box 20"/>
            <p:cNvSpPr txBox="1">
              <a:spLocks noChangeArrowheads="1"/>
            </p:cNvSpPr>
            <p:nvPr/>
          </p:nvSpPr>
          <p:spPr bwMode="auto">
            <a:xfrm>
              <a:off x="1776" y="3120"/>
              <a:ext cx="1286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OHSAS18001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7" name="Text Box 21"/>
            <p:cNvSpPr txBox="1">
              <a:spLocks noChangeArrowheads="1"/>
            </p:cNvSpPr>
            <p:nvPr/>
          </p:nvSpPr>
          <p:spPr bwMode="auto">
            <a:xfrm>
              <a:off x="3009" y="2779"/>
              <a:ext cx="1124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   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99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年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06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月 </a:t>
              </a:r>
              <a:endParaRPr kumimoji="1" lang="ja-JP" altLang="en-US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8" name="Text Box 22"/>
            <p:cNvSpPr txBox="1">
              <a:spLocks noChangeArrowheads="1"/>
            </p:cNvSpPr>
            <p:nvPr/>
          </p:nvSpPr>
          <p:spPr bwMode="auto">
            <a:xfrm>
              <a:off x="3024" y="3120"/>
              <a:ext cx="1124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   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02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年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03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月 </a:t>
              </a:r>
              <a:endParaRPr kumimoji="1" lang="ja-JP" altLang="en-US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79" name="Text Box 23"/>
            <p:cNvSpPr txBox="1">
              <a:spLocks noChangeArrowheads="1"/>
            </p:cNvSpPr>
            <p:nvPr/>
          </p:nvSpPr>
          <p:spPr bwMode="auto">
            <a:xfrm>
              <a:off x="4416" y="1152"/>
              <a:ext cx="575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BVQI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80" name="Text Box 24"/>
            <p:cNvSpPr txBox="1">
              <a:spLocks noChangeArrowheads="1"/>
            </p:cNvSpPr>
            <p:nvPr/>
          </p:nvSpPr>
          <p:spPr bwMode="auto">
            <a:xfrm>
              <a:off x="4416" y="1488"/>
              <a:ext cx="575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BVQI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81" name="Text Box 25"/>
            <p:cNvSpPr txBox="1">
              <a:spLocks noChangeArrowheads="1"/>
            </p:cNvSpPr>
            <p:nvPr/>
          </p:nvSpPr>
          <p:spPr bwMode="auto">
            <a:xfrm>
              <a:off x="4381" y="2779"/>
              <a:ext cx="598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UKAS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82" name="Text Box 26"/>
            <p:cNvSpPr txBox="1">
              <a:spLocks noChangeArrowheads="1"/>
            </p:cNvSpPr>
            <p:nvPr/>
          </p:nvSpPr>
          <p:spPr bwMode="auto">
            <a:xfrm>
              <a:off x="4320" y="3120"/>
              <a:ext cx="725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CCEMS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83" name="Text Box 27"/>
            <p:cNvSpPr txBox="1">
              <a:spLocks noChangeArrowheads="1"/>
            </p:cNvSpPr>
            <p:nvPr/>
          </p:nvSpPr>
          <p:spPr bwMode="auto">
            <a:xfrm>
              <a:off x="4416" y="1920"/>
              <a:ext cx="575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BVQI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7435" name="Line 28"/>
            <p:cNvSpPr/>
            <p:nvPr/>
          </p:nvSpPr>
          <p:spPr>
            <a:xfrm flipV="1">
              <a:off x="576" y="2727"/>
              <a:ext cx="4628" cy="0"/>
            </a:xfrm>
            <a:prstGeom prst="line">
              <a:avLst/>
            </a:prstGeom>
            <a:ln w="25400" cap="flat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7436" name="Line 29"/>
            <p:cNvSpPr/>
            <p:nvPr/>
          </p:nvSpPr>
          <p:spPr>
            <a:xfrm>
              <a:off x="576" y="3072"/>
              <a:ext cx="4627" cy="0"/>
            </a:xfrm>
            <a:prstGeom prst="line">
              <a:avLst/>
            </a:prstGeom>
            <a:ln w="25400" cap="flat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7437" name="Line 30"/>
            <p:cNvSpPr/>
            <p:nvPr/>
          </p:nvSpPr>
          <p:spPr>
            <a:xfrm flipV="1">
              <a:off x="1728" y="1776"/>
              <a:ext cx="3456" cy="0"/>
            </a:xfrm>
            <a:prstGeom prst="line">
              <a:avLst/>
            </a:prstGeom>
            <a:ln w="25400" cap="flat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7438" name="Line 31"/>
            <p:cNvSpPr/>
            <p:nvPr/>
          </p:nvSpPr>
          <p:spPr>
            <a:xfrm>
              <a:off x="1728" y="1440"/>
              <a:ext cx="3456" cy="0"/>
            </a:xfrm>
            <a:prstGeom prst="line">
              <a:avLst/>
            </a:prstGeom>
            <a:ln w="25400" cap="flat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7439" name="Line 32"/>
            <p:cNvSpPr/>
            <p:nvPr/>
          </p:nvSpPr>
          <p:spPr>
            <a:xfrm>
              <a:off x="576" y="1104"/>
              <a:ext cx="4608" cy="0"/>
            </a:xfrm>
            <a:prstGeom prst="line">
              <a:avLst/>
            </a:prstGeom>
            <a:ln w="25400" cap="flat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7440" name="Line 33"/>
            <p:cNvSpPr/>
            <p:nvPr/>
          </p:nvSpPr>
          <p:spPr>
            <a:xfrm>
              <a:off x="3024" y="768"/>
              <a:ext cx="0" cy="2658"/>
            </a:xfrm>
            <a:prstGeom prst="line">
              <a:avLst/>
            </a:prstGeom>
            <a:ln w="25400" cap="flat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7441" name="Line 34"/>
            <p:cNvSpPr/>
            <p:nvPr/>
          </p:nvSpPr>
          <p:spPr>
            <a:xfrm>
              <a:off x="4176" y="768"/>
              <a:ext cx="7" cy="2661"/>
            </a:xfrm>
            <a:prstGeom prst="line">
              <a:avLst/>
            </a:prstGeom>
            <a:ln w="25400" cap="flat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7442" name="Line 35"/>
            <p:cNvSpPr/>
            <p:nvPr/>
          </p:nvSpPr>
          <p:spPr>
            <a:xfrm>
              <a:off x="1728" y="768"/>
              <a:ext cx="0" cy="2658"/>
            </a:xfrm>
            <a:prstGeom prst="line">
              <a:avLst/>
            </a:prstGeom>
            <a:ln w="25400" cap="flat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7443" name="Line 36"/>
            <p:cNvSpPr/>
            <p:nvPr/>
          </p:nvSpPr>
          <p:spPr>
            <a:xfrm>
              <a:off x="1728" y="2304"/>
              <a:ext cx="3456" cy="0"/>
            </a:xfrm>
            <a:prstGeom prst="line">
              <a:avLst/>
            </a:prstGeom>
            <a:ln w="25400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</p:sp>
        <p:sp>
          <p:nvSpPr>
            <p:cNvPr id="19493" name="Text Box 37"/>
            <p:cNvSpPr txBox="1">
              <a:spLocks noChangeArrowheads="1"/>
            </p:cNvSpPr>
            <p:nvPr/>
          </p:nvSpPr>
          <p:spPr bwMode="auto">
            <a:xfrm>
              <a:off x="4424" y="2400"/>
              <a:ext cx="559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BV</a:t>
              </a:r>
              <a:r>
                <a:rPr kumimoji="1" lang="en-US" altLang="zh-CN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JC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94" name="Text Box 38"/>
            <p:cNvSpPr txBox="1">
              <a:spLocks noChangeArrowheads="1"/>
            </p:cNvSpPr>
            <p:nvPr/>
          </p:nvSpPr>
          <p:spPr bwMode="auto">
            <a:xfrm>
              <a:off x="1728" y="2400"/>
              <a:ext cx="1327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ISO</a:t>
              </a:r>
              <a:r>
                <a:rPr kumimoji="1" lang="en-US" altLang="zh-CN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/TS16949</a:t>
              </a:r>
              <a:endParaRPr kumimoji="1" lang="en-US" altLang="ja-JP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  <p:sp>
          <p:nvSpPr>
            <p:cNvPr id="19495" name="Text Box 39"/>
            <p:cNvSpPr txBox="1">
              <a:spLocks noChangeArrowheads="1"/>
            </p:cNvSpPr>
            <p:nvPr/>
          </p:nvSpPr>
          <p:spPr bwMode="auto">
            <a:xfrm>
              <a:off x="3025" y="2400"/>
              <a:ext cx="1018" cy="26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  </a:t>
              </a:r>
              <a:r>
                <a:rPr kumimoji="1" lang="en-US" altLang="zh-CN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1</a:t>
              </a:r>
              <a:r>
                <a:rPr kumimoji="1" lang="en-US" altLang="ja-JP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0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年</a:t>
              </a:r>
              <a:r>
                <a:rPr kumimoji="1" lang="en-US" altLang="zh-CN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02</a:t>
              </a:r>
              <a:r>
                <a:rPr kumimoji="1" lang="ja-JP" altLang="en-US" sz="22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uLnTx/>
                  <a:uFillTx/>
                  <a:latin typeface="Tahoma" panose="020B0604030504040204" pitchFamily="34" charset="0"/>
                  <a:ea typeface="MS PGothic" panose="020B0600070205080204" pitchFamily="34" charset="-128"/>
                  <a:cs typeface="ヒラギノ角ゴ Pro W3"/>
                </a:rPr>
                <a:t>月</a:t>
              </a:r>
              <a:endParaRPr kumimoji="1" lang="ja-JP" altLang="en-US" sz="22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ヒラギノ角ゴ Pro W3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4" name="Group 3"/>
          <p:cNvGrpSpPr/>
          <p:nvPr/>
        </p:nvGrpSpPr>
        <p:grpSpPr>
          <a:xfrm>
            <a:off x="5562600" y="5870575"/>
            <a:ext cx="269875" cy="11113"/>
            <a:chOff x="3234" y="3993"/>
            <a:chExt cx="157" cy="5"/>
          </a:xfrm>
        </p:grpSpPr>
        <p:sp>
          <p:nvSpPr>
            <p:cNvPr id="18624" name="Rectangle 4"/>
            <p:cNvSpPr/>
            <p:nvPr/>
          </p:nvSpPr>
          <p:spPr>
            <a:xfrm>
              <a:off x="3234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25" name="Rectangle 5"/>
            <p:cNvSpPr/>
            <p:nvPr/>
          </p:nvSpPr>
          <p:spPr>
            <a:xfrm>
              <a:off x="3235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26" name="Rectangle 6"/>
            <p:cNvSpPr/>
            <p:nvPr/>
          </p:nvSpPr>
          <p:spPr>
            <a:xfrm>
              <a:off x="3236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27" name="Rectangle 7"/>
            <p:cNvSpPr/>
            <p:nvPr/>
          </p:nvSpPr>
          <p:spPr>
            <a:xfrm>
              <a:off x="3237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28" name="Rectangle 8"/>
            <p:cNvSpPr/>
            <p:nvPr/>
          </p:nvSpPr>
          <p:spPr>
            <a:xfrm>
              <a:off x="3238" y="3993"/>
              <a:ext cx="1" cy="5"/>
            </a:xfrm>
            <a:prstGeom prst="rect">
              <a:avLst/>
            </a:prstGeom>
            <a:solidFill>
              <a:srgbClr val="5B5B5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29" name="Rectangle 9"/>
            <p:cNvSpPr/>
            <p:nvPr/>
          </p:nvSpPr>
          <p:spPr>
            <a:xfrm>
              <a:off x="3239" y="3993"/>
              <a:ext cx="1" cy="5"/>
            </a:xfrm>
            <a:prstGeom prst="rect">
              <a:avLst/>
            </a:prstGeom>
            <a:solidFill>
              <a:srgbClr val="5C5C5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0" name="Rectangle 10"/>
            <p:cNvSpPr/>
            <p:nvPr/>
          </p:nvSpPr>
          <p:spPr>
            <a:xfrm>
              <a:off x="3240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1" name="Rectangle 11"/>
            <p:cNvSpPr/>
            <p:nvPr/>
          </p:nvSpPr>
          <p:spPr>
            <a:xfrm>
              <a:off x="3241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2" name="Rectangle 12"/>
            <p:cNvSpPr/>
            <p:nvPr/>
          </p:nvSpPr>
          <p:spPr>
            <a:xfrm>
              <a:off x="3242" y="3993"/>
              <a:ext cx="1" cy="5"/>
            </a:xfrm>
            <a:prstGeom prst="rect">
              <a:avLst/>
            </a:prstGeom>
            <a:solidFill>
              <a:srgbClr val="5E5E5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3" name="Rectangle 13"/>
            <p:cNvSpPr/>
            <p:nvPr/>
          </p:nvSpPr>
          <p:spPr>
            <a:xfrm>
              <a:off x="3243" y="3993"/>
              <a:ext cx="1" cy="5"/>
            </a:xfrm>
            <a:prstGeom prst="rect">
              <a:avLst/>
            </a:prstGeom>
            <a:solidFill>
              <a:srgbClr val="5F5F5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4" name="Rectangle 14"/>
            <p:cNvSpPr/>
            <p:nvPr/>
          </p:nvSpPr>
          <p:spPr>
            <a:xfrm>
              <a:off x="3244" y="3993"/>
              <a:ext cx="1" cy="5"/>
            </a:xfrm>
            <a:prstGeom prst="rect">
              <a:avLst/>
            </a:prstGeom>
            <a:solidFill>
              <a:srgbClr val="60606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5" name="Rectangle 15"/>
            <p:cNvSpPr/>
            <p:nvPr/>
          </p:nvSpPr>
          <p:spPr>
            <a:xfrm>
              <a:off x="3245" y="3993"/>
              <a:ext cx="1" cy="5"/>
            </a:xfrm>
            <a:prstGeom prst="rect">
              <a:avLst/>
            </a:prstGeom>
            <a:solidFill>
              <a:srgbClr val="61616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6" name="Rectangle 16"/>
            <p:cNvSpPr/>
            <p:nvPr/>
          </p:nvSpPr>
          <p:spPr>
            <a:xfrm>
              <a:off x="3246" y="3993"/>
              <a:ext cx="1" cy="5"/>
            </a:xfrm>
            <a:prstGeom prst="rect">
              <a:avLst/>
            </a:prstGeom>
            <a:solidFill>
              <a:srgbClr val="62626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7" name="Rectangle 17"/>
            <p:cNvSpPr/>
            <p:nvPr/>
          </p:nvSpPr>
          <p:spPr>
            <a:xfrm>
              <a:off x="3247" y="3993"/>
              <a:ext cx="1" cy="5"/>
            </a:xfrm>
            <a:prstGeom prst="rect">
              <a:avLst/>
            </a:prstGeom>
            <a:solidFill>
              <a:srgbClr val="64646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8" name="Rectangle 18"/>
            <p:cNvSpPr/>
            <p:nvPr/>
          </p:nvSpPr>
          <p:spPr>
            <a:xfrm>
              <a:off x="3248" y="3993"/>
              <a:ext cx="1" cy="5"/>
            </a:xfrm>
            <a:prstGeom prst="rect">
              <a:avLst/>
            </a:prstGeom>
            <a:solidFill>
              <a:srgbClr val="65656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39" name="Rectangle 19"/>
            <p:cNvSpPr/>
            <p:nvPr/>
          </p:nvSpPr>
          <p:spPr>
            <a:xfrm>
              <a:off x="3249" y="3993"/>
              <a:ext cx="1" cy="5"/>
            </a:xfrm>
            <a:prstGeom prst="rect">
              <a:avLst/>
            </a:prstGeom>
            <a:solidFill>
              <a:srgbClr val="66666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0" name="Rectangle 20"/>
            <p:cNvSpPr/>
            <p:nvPr/>
          </p:nvSpPr>
          <p:spPr>
            <a:xfrm>
              <a:off x="3250" y="3993"/>
              <a:ext cx="1" cy="5"/>
            </a:xfrm>
            <a:prstGeom prst="rect">
              <a:avLst/>
            </a:prstGeom>
            <a:solidFill>
              <a:srgbClr val="68686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1" name="Rectangle 21"/>
            <p:cNvSpPr/>
            <p:nvPr/>
          </p:nvSpPr>
          <p:spPr>
            <a:xfrm>
              <a:off x="3251" y="3993"/>
              <a:ext cx="1" cy="5"/>
            </a:xfrm>
            <a:prstGeom prst="rect">
              <a:avLst/>
            </a:prstGeom>
            <a:solidFill>
              <a:srgbClr val="69696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2" name="Rectangle 22"/>
            <p:cNvSpPr/>
            <p:nvPr/>
          </p:nvSpPr>
          <p:spPr>
            <a:xfrm>
              <a:off x="3252" y="3993"/>
              <a:ext cx="1" cy="5"/>
            </a:xfrm>
            <a:prstGeom prst="rect">
              <a:avLst/>
            </a:prstGeom>
            <a:solidFill>
              <a:srgbClr val="6B6B6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3" name="Rectangle 23"/>
            <p:cNvSpPr/>
            <p:nvPr/>
          </p:nvSpPr>
          <p:spPr>
            <a:xfrm>
              <a:off x="3253" y="3993"/>
              <a:ext cx="1" cy="5"/>
            </a:xfrm>
            <a:prstGeom prst="rect">
              <a:avLst/>
            </a:prstGeom>
            <a:solidFill>
              <a:srgbClr val="6D6D6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4" name="Rectangle 24"/>
            <p:cNvSpPr/>
            <p:nvPr/>
          </p:nvSpPr>
          <p:spPr>
            <a:xfrm>
              <a:off x="3254" y="3993"/>
              <a:ext cx="1" cy="5"/>
            </a:xfrm>
            <a:prstGeom prst="rect">
              <a:avLst/>
            </a:prstGeom>
            <a:solidFill>
              <a:srgbClr val="6E6E6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5" name="Rectangle 25"/>
            <p:cNvSpPr/>
            <p:nvPr/>
          </p:nvSpPr>
          <p:spPr>
            <a:xfrm>
              <a:off x="3255" y="3993"/>
              <a:ext cx="1" cy="5"/>
            </a:xfrm>
            <a:prstGeom prst="rect">
              <a:avLst/>
            </a:prstGeom>
            <a:solidFill>
              <a:srgbClr val="70707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6" name="Rectangle 26"/>
            <p:cNvSpPr/>
            <p:nvPr/>
          </p:nvSpPr>
          <p:spPr>
            <a:xfrm>
              <a:off x="3256" y="3993"/>
              <a:ext cx="1" cy="5"/>
            </a:xfrm>
            <a:prstGeom prst="rect">
              <a:avLst/>
            </a:prstGeom>
            <a:solidFill>
              <a:srgbClr val="71717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7" name="Rectangle 27"/>
            <p:cNvSpPr/>
            <p:nvPr/>
          </p:nvSpPr>
          <p:spPr>
            <a:xfrm>
              <a:off x="3257" y="3993"/>
              <a:ext cx="1" cy="5"/>
            </a:xfrm>
            <a:prstGeom prst="rect">
              <a:avLst/>
            </a:prstGeom>
            <a:solidFill>
              <a:srgbClr val="74747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8" name="Rectangle 28"/>
            <p:cNvSpPr/>
            <p:nvPr/>
          </p:nvSpPr>
          <p:spPr>
            <a:xfrm>
              <a:off x="3258" y="3993"/>
              <a:ext cx="1" cy="5"/>
            </a:xfrm>
            <a:prstGeom prst="rect">
              <a:avLst/>
            </a:prstGeom>
            <a:solidFill>
              <a:srgbClr val="76767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49" name="Rectangle 29"/>
            <p:cNvSpPr/>
            <p:nvPr/>
          </p:nvSpPr>
          <p:spPr>
            <a:xfrm>
              <a:off x="3259" y="3993"/>
              <a:ext cx="1" cy="5"/>
            </a:xfrm>
            <a:prstGeom prst="rect">
              <a:avLst/>
            </a:prstGeom>
            <a:solidFill>
              <a:srgbClr val="77777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0" name="Rectangle 30"/>
            <p:cNvSpPr/>
            <p:nvPr/>
          </p:nvSpPr>
          <p:spPr>
            <a:xfrm>
              <a:off x="3260" y="3993"/>
              <a:ext cx="1" cy="5"/>
            </a:xfrm>
            <a:prstGeom prst="rect">
              <a:avLst/>
            </a:prstGeom>
            <a:solidFill>
              <a:srgbClr val="79797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1" name="Rectangle 31"/>
            <p:cNvSpPr/>
            <p:nvPr/>
          </p:nvSpPr>
          <p:spPr>
            <a:xfrm>
              <a:off x="3261" y="3993"/>
              <a:ext cx="1" cy="5"/>
            </a:xfrm>
            <a:prstGeom prst="rect">
              <a:avLst/>
            </a:prstGeom>
            <a:solidFill>
              <a:srgbClr val="7C7C7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2" name="Rectangle 32"/>
            <p:cNvSpPr/>
            <p:nvPr/>
          </p:nvSpPr>
          <p:spPr>
            <a:xfrm>
              <a:off x="3262" y="3993"/>
              <a:ext cx="1" cy="5"/>
            </a:xfrm>
            <a:prstGeom prst="rect">
              <a:avLst/>
            </a:prstGeom>
            <a:solidFill>
              <a:srgbClr val="7E7E7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3" name="Rectangle 33"/>
            <p:cNvSpPr/>
            <p:nvPr/>
          </p:nvSpPr>
          <p:spPr>
            <a:xfrm>
              <a:off x="3263" y="3993"/>
              <a:ext cx="1" cy="5"/>
            </a:xfrm>
            <a:prstGeom prst="rect">
              <a:avLst/>
            </a:prstGeom>
            <a:solidFill>
              <a:srgbClr val="7F7F7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4" name="Rectangle 34"/>
            <p:cNvSpPr/>
            <p:nvPr/>
          </p:nvSpPr>
          <p:spPr>
            <a:xfrm>
              <a:off x="3264" y="3993"/>
              <a:ext cx="1" cy="5"/>
            </a:xfrm>
            <a:prstGeom prst="rect">
              <a:avLst/>
            </a:prstGeom>
            <a:solidFill>
              <a:srgbClr val="81818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5" name="Rectangle 35"/>
            <p:cNvSpPr/>
            <p:nvPr/>
          </p:nvSpPr>
          <p:spPr>
            <a:xfrm>
              <a:off x="3265" y="3993"/>
              <a:ext cx="1" cy="5"/>
            </a:xfrm>
            <a:prstGeom prst="rect">
              <a:avLst/>
            </a:prstGeom>
            <a:solidFill>
              <a:srgbClr val="84848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6" name="Rectangle 36"/>
            <p:cNvSpPr/>
            <p:nvPr/>
          </p:nvSpPr>
          <p:spPr>
            <a:xfrm>
              <a:off x="3266" y="3993"/>
              <a:ext cx="1" cy="5"/>
            </a:xfrm>
            <a:prstGeom prst="rect">
              <a:avLst/>
            </a:prstGeom>
            <a:solidFill>
              <a:srgbClr val="86868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7" name="Rectangle 37"/>
            <p:cNvSpPr/>
            <p:nvPr/>
          </p:nvSpPr>
          <p:spPr>
            <a:xfrm>
              <a:off x="3267" y="3993"/>
              <a:ext cx="1" cy="5"/>
            </a:xfrm>
            <a:prstGeom prst="rect">
              <a:avLst/>
            </a:prstGeom>
            <a:solidFill>
              <a:srgbClr val="88888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8" name="Rectangle 38"/>
            <p:cNvSpPr/>
            <p:nvPr/>
          </p:nvSpPr>
          <p:spPr>
            <a:xfrm>
              <a:off x="3268" y="3993"/>
              <a:ext cx="1" cy="5"/>
            </a:xfrm>
            <a:prstGeom prst="rect">
              <a:avLst/>
            </a:prstGeom>
            <a:solidFill>
              <a:srgbClr val="8A8A8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59" name="Rectangle 39"/>
            <p:cNvSpPr/>
            <p:nvPr/>
          </p:nvSpPr>
          <p:spPr>
            <a:xfrm>
              <a:off x="3269" y="3993"/>
              <a:ext cx="1" cy="5"/>
            </a:xfrm>
            <a:prstGeom prst="rect">
              <a:avLst/>
            </a:prstGeom>
            <a:solidFill>
              <a:srgbClr val="8C8C8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0" name="Rectangle 40"/>
            <p:cNvSpPr/>
            <p:nvPr/>
          </p:nvSpPr>
          <p:spPr>
            <a:xfrm>
              <a:off x="3270" y="3993"/>
              <a:ext cx="1" cy="5"/>
            </a:xfrm>
            <a:prstGeom prst="rect">
              <a:avLst/>
            </a:prstGeom>
            <a:solidFill>
              <a:srgbClr val="8E8E8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1" name="Rectangle 41"/>
            <p:cNvSpPr/>
            <p:nvPr/>
          </p:nvSpPr>
          <p:spPr>
            <a:xfrm>
              <a:off x="3271" y="3993"/>
              <a:ext cx="1" cy="5"/>
            </a:xfrm>
            <a:prstGeom prst="rect">
              <a:avLst/>
            </a:prstGeom>
            <a:solidFill>
              <a:srgbClr val="90909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2" name="Rectangle 42"/>
            <p:cNvSpPr/>
            <p:nvPr/>
          </p:nvSpPr>
          <p:spPr>
            <a:xfrm>
              <a:off x="3272" y="3993"/>
              <a:ext cx="1" cy="5"/>
            </a:xfrm>
            <a:prstGeom prst="rect">
              <a:avLst/>
            </a:prstGeom>
            <a:solidFill>
              <a:srgbClr val="92929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3" name="Rectangle 43"/>
            <p:cNvSpPr/>
            <p:nvPr/>
          </p:nvSpPr>
          <p:spPr>
            <a:xfrm>
              <a:off x="3273" y="3993"/>
              <a:ext cx="1" cy="5"/>
            </a:xfrm>
            <a:prstGeom prst="rect">
              <a:avLst/>
            </a:prstGeom>
            <a:solidFill>
              <a:srgbClr val="95959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4" name="Rectangle 44"/>
            <p:cNvSpPr/>
            <p:nvPr/>
          </p:nvSpPr>
          <p:spPr>
            <a:xfrm>
              <a:off x="3274" y="3993"/>
              <a:ext cx="1" cy="5"/>
            </a:xfrm>
            <a:prstGeom prst="rect">
              <a:avLst/>
            </a:prstGeom>
            <a:solidFill>
              <a:srgbClr val="97979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5" name="Rectangle 45"/>
            <p:cNvSpPr/>
            <p:nvPr/>
          </p:nvSpPr>
          <p:spPr>
            <a:xfrm>
              <a:off x="3275" y="3993"/>
              <a:ext cx="1" cy="5"/>
            </a:xfrm>
            <a:prstGeom prst="rect">
              <a:avLst/>
            </a:prstGeom>
            <a:solidFill>
              <a:srgbClr val="99999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6" name="Rectangle 46"/>
            <p:cNvSpPr/>
            <p:nvPr/>
          </p:nvSpPr>
          <p:spPr>
            <a:xfrm>
              <a:off x="3276" y="3993"/>
              <a:ext cx="1" cy="5"/>
            </a:xfrm>
            <a:prstGeom prst="rect">
              <a:avLst/>
            </a:prstGeom>
            <a:solidFill>
              <a:srgbClr val="9A9A9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7" name="Rectangle 47"/>
            <p:cNvSpPr/>
            <p:nvPr/>
          </p:nvSpPr>
          <p:spPr>
            <a:xfrm>
              <a:off x="3276" y="3993"/>
              <a:ext cx="1" cy="5"/>
            </a:xfrm>
            <a:prstGeom prst="rect">
              <a:avLst/>
            </a:prstGeom>
            <a:solidFill>
              <a:srgbClr val="9C9C9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8" name="Rectangle 48"/>
            <p:cNvSpPr/>
            <p:nvPr/>
          </p:nvSpPr>
          <p:spPr>
            <a:xfrm>
              <a:off x="3277" y="3993"/>
              <a:ext cx="1" cy="5"/>
            </a:xfrm>
            <a:prstGeom prst="rect">
              <a:avLst/>
            </a:prstGeom>
            <a:solidFill>
              <a:srgbClr val="9E9E9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69" name="Rectangle 49"/>
            <p:cNvSpPr/>
            <p:nvPr/>
          </p:nvSpPr>
          <p:spPr>
            <a:xfrm>
              <a:off x="3278" y="3993"/>
              <a:ext cx="1" cy="5"/>
            </a:xfrm>
            <a:prstGeom prst="rect">
              <a:avLst/>
            </a:prstGeom>
            <a:solidFill>
              <a:srgbClr val="A0A0A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0" name="Rectangle 50"/>
            <p:cNvSpPr/>
            <p:nvPr/>
          </p:nvSpPr>
          <p:spPr>
            <a:xfrm>
              <a:off x="3279" y="3993"/>
              <a:ext cx="1" cy="5"/>
            </a:xfrm>
            <a:prstGeom prst="rect">
              <a:avLst/>
            </a:prstGeom>
            <a:solidFill>
              <a:srgbClr val="A2A2A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1" name="Rectangle 51"/>
            <p:cNvSpPr/>
            <p:nvPr/>
          </p:nvSpPr>
          <p:spPr>
            <a:xfrm>
              <a:off x="3280" y="3993"/>
              <a:ext cx="1" cy="5"/>
            </a:xfrm>
            <a:prstGeom prst="rect">
              <a:avLst/>
            </a:prstGeom>
            <a:solidFill>
              <a:srgbClr val="A3A3A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2" name="Rectangle 52"/>
            <p:cNvSpPr/>
            <p:nvPr/>
          </p:nvSpPr>
          <p:spPr>
            <a:xfrm>
              <a:off x="3281" y="3993"/>
              <a:ext cx="1" cy="5"/>
            </a:xfrm>
            <a:prstGeom prst="rect">
              <a:avLst/>
            </a:prstGeom>
            <a:solidFill>
              <a:srgbClr val="A5A5A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3" name="Rectangle 53"/>
            <p:cNvSpPr/>
            <p:nvPr/>
          </p:nvSpPr>
          <p:spPr>
            <a:xfrm>
              <a:off x="3282" y="3993"/>
              <a:ext cx="1" cy="5"/>
            </a:xfrm>
            <a:prstGeom prst="rect">
              <a:avLst/>
            </a:prstGeom>
            <a:solidFill>
              <a:srgbClr val="A7A7A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4" name="Rectangle 54"/>
            <p:cNvSpPr/>
            <p:nvPr/>
          </p:nvSpPr>
          <p:spPr>
            <a:xfrm>
              <a:off x="3283" y="3993"/>
              <a:ext cx="1" cy="5"/>
            </a:xfrm>
            <a:prstGeom prst="rect">
              <a:avLst/>
            </a:prstGeom>
            <a:solidFill>
              <a:srgbClr val="A8A8A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5" name="Rectangle 55"/>
            <p:cNvSpPr/>
            <p:nvPr/>
          </p:nvSpPr>
          <p:spPr>
            <a:xfrm>
              <a:off x="3284" y="3993"/>
              <a:ext cx="1" cy="5"/>
            </a:xfrm>
            <a:prstGeom prst="rect">
              <a:avLst/>
            </a:prstGeom>
            <a:solidFill>
              <a:srgbClr val="AAAAA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6" name="Rectangle 56"/>
            <p:cNvSpPr/>
            <p:nvPr/>
          </p:nvSpPr>
          <p:spPr>
            <a:xfrm>
              <a:off x="3285" y="3993"/>
              <a:ext cx="1" cy="5"/>
            </a:xfrm>
            <a:prstGeom prst="rect">
              <a:avLst/>
            </a:prstGeom>
            <a:solidFill>
              <a:srgbClr val="ACACA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7" name="Rectangle 57"/>
            <p:cNvSpPr/>
            <p:nvPr/>
          </p:nvSpPr>
          <p:spPr>
            <a:xfrm>
              <a:off x="3286" y="3993"/>
              <a:ext cx="1" cy="5"/>
            </a:xfrm>
            <a:prstGeom prst="rect">
              <a:avLst/>
            </a:prstGeom>
            <a:solidFill>
              <a:srgbClr val="ADADA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8" name="Rectangle 58"/>
            <p:cNvSpPr/>
            <p:nvPr/>
          </p:nvSpPr>
          <p:spPr>
            <a:xfrm>
              <a:off x="3287" y="3993"/>
              <a:ext cx="1" cy="5"/>
            </a:xfrm>
            <a:prstGeom prst="rect">
              <a:avLst/>
            </a:prstGeom>
            <a:solidFill>
              <a:srgbClr val="AEAEA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79" name="Rectangle 59"/>
            <p:cNvSpPr/>
            <p:nvPr/>
          </p:nvSpPr>
          <p:spPr>
            <a:xfrm>
              <a:off x="3288" y="3993"/>
              <a:ext cx="1" cy="5"/>
            </a:xfrm>
            <a:prstGeom prst="rect">
              <a:avLst/>
            </a:prstGeom>
            <a:solidFill>
              <a:srgbClr val="AFAFA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0" name="Rectangle 60"/>
            <p:cNvSpPr/>
            <p:nvPr/>
          </p:nvSpPr>
          <p:spPr>
            <a:xfrm>
              <a:off x="3289" y="3993"/>
              <a:ext cx="1" cy="5"/>
            </a:xfrm>
            <a:prstGeom prst="rect">
              <a:avLst/>
            </a:prstGeom>
            <a:solidFill>
              <a:srgbClr val="B1B1B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1" name="Rectangle 61"/>
            <p:cNvSpPr/>
            <p:nvPr/>
          </p:nvSpPr>
          <p:spPr>
            <a:xfrm>
              <a:off x="3290" y="3993"/>
              <a:ext cx="1" cy="5"/>
            </a:xfrm>
            <a:prstGeom prst="rect">
              <a:avLst/>
            </a:prstGeom>
            <a:solidFill>
              <a:srgbClr val="B2B2B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2" name="Rectangle 62"/>
            <p:cNvSpPr/>
            <p:nvPr/>
          </p:nvSpPr>
          <p:spPr>
            <a:xfrm>
              <a:off x="3291" y="3993"/>
              <a:ext cx="1" cy="5"/>
            </a:xfrm>
            <a:prstGeom prst="rect">
              <a:avLst/>
            </a:prstGeom>
            <a:solidFill>
              <a:srgbClr val="B3B3B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3" name="Rectangle 63"/>
            <p:cNvSpPr/>
            <p:nvPr/>
          </p:nvSpPr>
          <p:spPr>
            <a:xfrm>
              <a:off x="3292" y="3993"/>
              <a:ext cx="1" cy="5"/>
            </a:xfrm>
            <a:prstGeom prst="rect">
              <a:avLst/>
            </a:prstGeom>
            <a:solidFill>
              <a:srgbClr val="B4B4B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4" name="Rectangle 64"/>
            <p:cNvSpPr/>
            <p:nvPr/>
          </p:nvSpPr>
          <p:spPr>
            <a:xfrm>
              <a:off x="3293" y="3993"/>
              <a:ext cx="1" cy="5"/>
            </a:xfrm>
            <a:prstGeom prst="rect">
              <a:avLst/>
            </a:prstGeom>
            <a:solidFill>
              <a:srgbClr val="B5B5B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5" name="Rectangle 65"/>
            <p:cNvSpPr/>
            <p:nvPr/>
          </p:nvSpPr>
          <p:spPr>
            <a:xfrm>
              <a:off x="3294" y="3993"/>
              <a:ext cx="1" cy="5"/>
            </a:xfrm>
            <a:prstGeom prst="rect">
              <a:avLst/>
            </a:prstGeom>
            <a:solidFill>
              <a:srgbClr val="B6B6B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6" name="Rectangle 66"/>
            <p:cNvSpPr/>
            <p:nvPr/>
          </p:nvSpPr>
          <p:spPr>
            <a:xfrm>
              <a:off x="3295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7" name="Rectangle 67"/>
            <p:cNvSpPr/>
            <p:nvPr/>
          </p:nvSpPr>
          <p:spPr>
            <a:xfrm>
              <a:off x="3296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8" name="Rectangle 68"/>
            <p:cNvSpPr/>
            <p:nvPr/>
          </p:nvSpPr>
          <p:spPr>
            <a:xfrm>
              <a:off x="3297" y="3993"/>
              <a:ext cx="1" cy="5"/>
            </a:xfrm>
            <a:prstGeom prst="rect">
              <a:avLst/>
            </a:prstGeom>
            <a:solidFill>
              <a:srgbClr val="B8B8B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89" name="Rectangle 69"/>
            <p:cNvSpPr/>
            <p:nvPr/>
          </p:nvSpPr>
          <p:spPr>
            <a:xfrm>
              <a:off x="3298" y="3993"/>
              <a:ext cx="1" cy="5"/>
            </a:xfrm>
            <a:prstGeom prst="rect">
              <a:avLst/>
            </a:prstGeom>
            <a:solidFill>
              <a:srgbClr val="B9B9B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0" name="Rectangle 70"/>
            <p:cNvSpPr/>
            <p:nvPr/>
          </p:nvSpPr>
          <p:spPr>
            <a:xfrm>
              <a:off x="3299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1" name="Rectangle 71"/>
            <p:cNvSpPr/>
            <p:nvPr/>
          </p:nvSpPr>
          <p:spPr>
            <a:xfrm>
              <a:off x="3300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2" name="Rectangle 72"/>
            <p:cNvSpPr/>
            <p:nvPr/>
          </p:nvSpPr>
          <p:spPr>
            <a:xfrm>
              <a:off x="3301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3" name="Rectangle 73"/>
            <p:cNvSpPr/>
            <p:nvPr/>
          </p:nvSpPr>
          <p:spPr>
            <a:xfrm>
              <a:off x="3302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4" name="Rectangle 74"/>
            <p:cNvSpPr/>
            <p:nvPr/>
          </p:nvSpPr>
          <p:spPr>
            <a:xfrm>
              <a:off x="3303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5" name="Rectangle 75"/>
            <p:cNvSpPr/>
            <p:nvPr/>
          </p:nvSpPr>
          <p:spPr>
            <a:xfrm>
              <a:off x="3304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6" name="Rectangle 76"/>
            <p:cNvSpPr/>
            <p:nvPr/>
          </p:nvSpPr>
          <p:spPr>
            <a:xfrm>
              <a:off x="3305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7" name="Rectangle 77"/>
            <p:cNvSpPr/>
            <p:nvPr/>
          </p:nvSpPr>
          <p:spPr>
            <a:xfrm>
              <a:off x="3306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8" name="Rectangle 78"/>
            <p:cNvSpPr/>
            <p:nvPr/>
          </p:nvSpPr>
          <p:spPr>
            <a:xfrm>
              <a:off x="3307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99" name="Rectangle 79"/>
            <p:cNvSpPr/>
            <p:nvPr/>
          </p:nvSpPr>
          <p:spPr>
            <a:xfrm>
              <a:off x="3308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0" name="Rectangle 80"/>
            <p:cNvSpPr/>
            <p:nvPr/>
          </p:nvSpPr>
          <p:spPr>
            <a:xfrm>
              <a:off x="3309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1" name="Rectangle 81"/>
            <p:cNvSpPr/>
            <p:nvPr/>
          </p:nvSpPr>
          <p:spPr>
            <a:xfrm>
              <a:off x="3310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2" name="Rectangle 82"/>
            <p:cNvSpPr/>
            <p:nvPr/>
          </p:nvSpPr>
          <p:spPr>
            <a:xfrm>
              <a:off x="3311" y="3993"/>
              <a:ext cx="1" cy="5"/>
            </a:xfrm>
            <a:prstGeom prst="rect">
              <a:avLst/>
            </a:prstGeom>
            <a:solidFill>
              <a:srgbClr val="BFBFB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3" name="Rectangle 83"/>
            <p:cNvSpPr/>
            <p:nvPr/>
          </p:nvSpPr>
          <p:spPr>
            <a:xfrm>
              <a:off x="3312" y="3993"/>
              <a:ext cx="1" cy="5"/>
            </a:xfrm>
            <a:prstGeom prst="rect">
              <a:avLst/>
            </a:prstGeom>
            <a:solidFill>
              <a:srgbClr val="BFBFB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4" name="Rectangle 84"/>
            <p:cNvSpPr/>
            <p:nvPr/>
          </p:nvSpPr>
          <p:spPr>
            <a:xfrm>
              <a:off x="3313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5" name="Rectangle 85"/>
            <p:cNvSpPr/>
            <p:nvPr/>
          </p:nvSpPr>
          <p:spPr>
            <a:xfrm>
              <a:off x="3314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6" name="Rectangle 86"/>
            <p:cNvSpPr/>
            <p:nvPr/>
          </p:nvSpPr>
          <p:spPr>
            <a:xfrm>
              <a:off x="3315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7" name="Rectangle 87"/>
            <p:cNvSpPr/>
            <p:nvPr/>
          </p:nvSpPr>
          <p:spPr>
            <a:xfrm>
              <a:off x="3316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8" name="Rectangle 88"/>
            <p:cNvSpPr/>
            <p:nvPr/>
          </p:nvSpPr>
          <p:spPr>
            <a:xfrm>
              <a:off x="3317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09" name="Rectangle 89"/>
            <p:cNvSpPr/>
            <p:nvPr/>
          </p:nvSpPr>
          <p:spPr>
            <a:xfrm>
              <a:off x="3318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0" name="Rectangle 90"/>
            <p:cNvSpPr/>
            <p:nvPr/>
          </p:nvSpPr>
          <p:spPr>
            <a:xfrm>
              <a:off x="3319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1" name="Rectangle 91"/>
            <p:cNvSpPr/>
            <p:nvPr/>
          </p:nvSpPr>
          <p:spPr>
            <a:xfrm>
              <a:off x="3320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2" name="Rectangle 92"/>
            <p:cNvSpPr/>
            <p:nvPr/>
          </p:nvSpPr>
          <p:spPr>
            <a:xfrm>
              <a:off x="3321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3" name="Rectangle 93"/>
            <p:cNvSpPr/>
            <p:nvPr/>
          </p:nvSpPr>
          <p:spPr>
            <a:xfrm>
              <a:off x="3322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4" name="Rectangle 94"/>
            <p:cNvSpPr/>
            <p:nvPr/>
          </p:nvSpPr>
          <p:spPr>
            <a:xfrm>
              <a:off x="3323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5" name="Rectangle 95"/>
            <p:cNvSpPr/>
            <p:nvPr/>
          </p:nvSpPr>
          <p:spPr>
            <a:xfrm>
              <a:off x="3324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6" name="Rectangle 96"/>
            <p:cNvSpPr/>
            <p:nvPr/>
          </p:nvSpPr>
          <p:spPr>
            <a:xfrm>
              <a:off x="3325" y="3993"/>
              <a:ext cx="1" cy="5"/>
            </a:xfrm>
            <a:prstGeom prst="rect">
              <a:avLst/>
            </a:prstGeom>
            <a:solidFill>
              <a:srgbClr val="B9B9B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7" name="Rectangle 97"/>
            <p:cNvSpPr/>
            <p:nvPr/>
          </p:nvSpPr>
          <p:spPr>
            <a:xfrm>
              <a:off x="3326" y="3993"/>
              <a:ext cx="1" cy="5"/>
            </a:xfrm>
            <a:prstGeom prst="rect">
              <a:avLst/>
            </a:prstGeom>
            <a:solidFill>
              <a:srgbClr val="B8B8B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8" name="Rectangle 98"/>
            <p:cNvSpPr/>
            <p:nvPr/>
          </p:nvSpPr>
          <p:spPr>
            <a:xfrm>
              <a:off x="3327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19" name="Rectangle 99"/>
            <p:cNvSpPr/>
            <p:nvPr/>
          </p:nvSpPr>
          <p:spPr>
            <a:xfrm>
              <a:off x="3328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0" name="Rectangle 100"/>
            <p:cNvSpPr/>
            <p:nvPr/>
          </p:nvSpPr>
          <p:spPr>
            <a:xfrm>
              <a:off x="3329" y="3993"/>
              <a:ext cx="1" cy="5"/>
            </a:xfrm>
            <a:prstGeom prst="rect">
              <a:avLst/>
            </a:prstGeom>
            <a:solidFill>
              <a:srgbClr val="B6B6B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1" name="Rectangle 101"/>
            <p:cNvSpPr/>
            <p:nvPr/>
          </p:nvSpPr>
          <p:spPr>
            <a:xfrm>
              <a:off x="3330" y="3993"/>
              <a:ext cx="1" cy="5"/>
            </a:xfrm>
            <a:prstGeom prst="rect">
              <a:avLst/>
            </a:prstGeom>
            <a:solidFill>
              <a:srgbClr val="B5B5B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2" name="Rectangle 102"/>
            <p:cNvSpPr/>
            <p:nvPr/>
          </p:nvSpPr>
          <p:spPr>
            <a:xfrm>
              <a:off x="3331" y="3993"/>
              <a:ext cx="1" cy="5"/>
            </a:xfrm>
            <a:prstGeom prst="rect">
              <a:avLst/>
            </a:prstGeom>
            <a:solidFill>
              <a:srgbClr val="B4B4B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3" name="Rectangle 103"/>
            <p:cNvSpPr/>
            <p:nvPr/>
          </p:nvSpPr>
          <p:spPr>
            <a:xfrm>
              <a:off x="3332" y="3993"/>
              <a:ext cx="1" cy="5"/>
            </a:xfrm>
            <a:prstGeom prst="rect">
              <a:avLst/>
            </a:prstGeom>
            <a:solidFill>
              <a:srgbClr val="B3B3B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4" name="Rectangle 104"/>
            <p:cNvSpPr/>
            <p:nvPr/>
          </p:nvSpPr>
          <p:spPr>
            <a:xfrm>
              <a:off x="3333" y="3993"/>
              <a:ext cx="1" cy="5"/>
            </a:xfrm>
            <a:prstGeom prst="rect">
              <a:avLst/>
            </a:prstGeom>
            <a:solidFill>
              <a:srgbClr val="B2B2B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5" name="Rectangle 105"/>
            <p:cNvSpPr/>
            <p:nvPr/>
          </p:nvSpPr>
          <p:spPr>
            <a:xfrm>
              <a:off x="3334" y="3993"/>
              <a:ext cx="1" cy="5"/>
            </a:xfrm>
            <a:prstGeom prst="rect">
              <a:avLst/>
            </a:prstGeom>
            <a:solidFill>
              <a:srgbClr val="B1B1B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6" name="Rectangle 106"/>
            <p:cNvSpPr/>
            <p:nvPr/>
          </p:nvSpPr>
          <p:spPr>
            <a:xfrm>
              <a:off x="3335" y="3993"/>
              <a:ext cx="1" cy="5"/>
            </a:xfrm>
            <a:prstGeom prst="rect">
              <a:avLst/>
            </a:prstGeom>
            <a:solidFill>
              <a:srgbClr val="AFAFA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7" name="Rectangle 107"/>
            <p:cNvSpPr/>
            <p:nvPr/>
          </p:nvSpPr>
          <p:spPr>
            <a:xfrm>
              <a:off x="3336" y="3993"/>
              <a:ext cx="1" cy="5"/>
            </a:xfrm>
            <a:prstGeom prst="rect">
              <a:avLst/>
            </a:prstGeom>
            <a:solidFill>
              <a:srgbClr val="AEAEA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8" name="Rectangle 108"/>
            <p:cNvSpPr/>
            <p:nvPr/>
          </p:nvSpPr>
          <p:spPr>
            <a:xfrm>
              <a:off x="3337" y="3993"/>
              <a:ext cx="1" cy="5"/>
            </a:xfrm>
            <a:prstGeom prst="rect">
              <a:avLst/>
            </a:prstGeom>
            <a:solidFill>
              <a:srgbClr val="ADADA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29" name="Rectangle 109"/>
            <p:cNvSpPr/>
            <p:nvPr/>
          </p:nvSpPr>
          <p:spPr>
            <a:xfrm>
              <a:off x="3338" y="3993"/>
              <a:ext cx="1" cy="5"/>
            </a:xfrm>
            <a:prstGeom prst="rect">
              <a:avLst/>
            </a:prstGeom>
            <a:solidFill>
              <a:srgbClr val="ACACA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0" name="Rectangle 110"/>
            <p:cNvSpPr/>
            <p:nvPr/>
          </p:nvSpPr>
          <p:spPr>
            <a:xfrm>
              <a:off x="3339" y="3993"/>
              <a:ext cx="1" cy="5"/>
            </a:xfrm>
            <a:prstGeom prst="rect">
              <a:avLst/>
            </a:prstGeom>
            <a:solidFill>
              <a:srgbClr val="AAAAA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1" name="Rectangle 111"/>
            <p:cNvSpPr/>
            <p:nvPr/>
          </p:nvSpPr>
          <p:spPr>
            <a:xfrm>
              <a:off x="3340" y="3993"/>
              <a:ext cx="1" cy="5"/>
            </a:xfrm>
            <a:prstGeom prst="rect">
              <a:avLst/>
            </a:prstGeom>
            <a:solidFill>
              <a:srgbClr val="A8A8A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2" name="Rectangle 112"/>
            <p:cNvSpPr/>
            <p:nvPr/>
          </p:nvSpPr>
          <p:spPr>
            <a:xfrm>
              <a:off x="3341" y="3993"/>
              <a:ext cx="1" cy="5"/>
            </a:xfrm>
            <a:prstGeom prst="rect">
              <a:avLst/>
            </a:prstGeom>
            <a:solidFill>
              <a:srgbClr val="A7A7A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3" name="Rectangle 113"/>
            <p:cNvSpPr/>
            <p:nvPr/>
          </p:nvSpPr>
          <p:spPr>
            <a:xfrm>
              <a:off x="3342" y="3993"/>
              <a:ext cx="1" cy="5"/>
            </a:xfrm>
            <a:prstGeom prst="rect">
              <a:avLst/>
            </a:prstGeom>
            <a:solidFill>
              <a:srgbClr val="A5A5A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4" name="Rectangle 114"/>
            <p:cNvSpPr/>
            <p:nvPr/>
          </p:nvSpPr>
          <p:spPr>
            <a:xfrm>
              <a:off x="3343" y="3993"/>
              <a:ext cx="1" cy="5"/>
            </a:xfrm>
            <a:prstGeom prst="rect">
              <a:avLst/>
            </a:prstGeom>
            <a:solidFill>
              <a:srgbClr val="A3A3A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5" name="Rectangle 115"/>
            <p:cNvSpPr/>
            <p:nvPr/>
          </p:nvSpPr>
          <p:spPr>
            <a:xfrm>
              <a:off x="3344" y="3993"/>
              <a:ext cx="1" cy="5"/>
            </a:xfrm>
            <a:prstGeom prst="rect">
              <a:avLst/>
            </a:prstGeom>
            <a:solidFill>
              <a:srgbClr val="A2A2A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6" name="Rectangle 116"/>
            <p:cNvSpPr/>
            <p:nvPr/>
          </p:nvSpPr>
          <p:spPr>
            <a:xfrm>
              <a:off x="3345" y="3993"/>
              <a:ext cx="1" cy="5"/>
            </a:xfrm>
            <a:prstGeom prst="rect">
              <a:avLst/>
            </a:prstGeom>
            <a:solidFill>
              <a:srgbClr val="A0A0A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7" name="Rectangle 117"/>
            <p:cNvSpPr/>
            <p:nvPr/>
          </p:nvSpPr>
          <p:spPr>
            <a:xfrm>
              <a:off x="3346" y="3993"/>
              <a:ext cx="1" cy="5"/>
            </a:xfrm>
            <a:prstGeom prst="rect">
              <a:avLst/>
            </a:prstGeom>
            <a:solidFill>
              <a:srgbClr val="9E9E9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8" name="Rectangle 118"/>
            <p:cNvSpPr/>
            <p:nvPr/>
          </p:nvSpPr>
          <p:spPr>
            <a:xfrm>
              <a:off x="3347" y="3993"/>
              <a:ext cx="1" cy="5"/>
            </a:xfrm>
            <a:prstGeom prst="rect">
              <a:avLst/>
            </a:prstGeom>
            <a:solidFill>
              <a:srgbClr val="9C9C9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39" name="Rectangle 119"/>
            <p:cNvSpPr/>
            <p:nvPr/>
          </p:nvSpPr>
          <p:spPr>
            <a:xfrm>
              <a:off x="3348" y="3993"/>
              <a:ext cx="1" cy="5"/>
            </a:xfrm>
            <a:prstGeom prst="rect">
              <a:avLst/>
            </a:prstGeom>
            <a:solidFill>
              <a:srgbClr val="9A9A9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0" name="Rectangle 120"/>
            <p:cNvSpPr/>
            <p:nvPr/>
          </p:nvSpPr>
          <p:spPr>
            <a:xfrm>
              <a:off x="3349" y="3993"/>
              <a:ext cx="1" cy="5"/>
            </a:xfrm>
            <a:prstGeom prst="rect">
              <a:avLst/>
            </a:prstGeom>
            <a:solidFill>
              <a:srgbClr val="99999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1" name="Rectangle 121"/>
            <p:cNvSpPr/>
            <p:nvPr/>
          </p:nvSpPr>
          <p:spPr>
            <a:xfrm>
              <a:off x="3350" y="3993"/>
              <a:ext cx="1" cy="5"/>
            </a:xfrm>
            <a:prstGeom prst="rect">
              <a:avLst/>
            </a:prstGeom>
            <a:solidFill>
              <a:srgbClr val="97979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2" name="Rectangle 122"/>
            <p:cNvSpPr/>
            <p:nvPr/>
          </p:nvSpPr>
          <p:spPr>
            <a:xfrm>
              <a:off x="3351" y="3993"/>
              <a:ext cx="1" cy="5"/>
            </a:xfrm>
            <a:prstGeom prst="rect">
              <a:avLst/>
            </a:prstGeom>
            <a:solidFill>
              <a:srgbClr val="94949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3" name="Rectangle 123"/>
            <p:cNvSpPr/>
            <p:nvPr/>
          </p:nvSpPr>
          <p:spPr>
            <a:xfrm>
              <a:off x="3352" y="3993"/>
              <a:ext cx="1" cy="5"/>
            </a:xfrm>
            <a:prstGeom prst="rect">
              <a:avLst/>
            </a:prstGeom>
            <a:solidFill>
              <a:srgbClr val="92929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4" name="Rectangle 124"/>
            <p:cNvSpPr/>
            <p:nvPr/>
          </p:nvSpPr>
          <p:spPr>
            <a:xfrm>
              <a:off x="3353" y="3993"/>
              <a:ext cx="1" cy="5"/>
            </a:xfrm>
            <a:prstGeom prst="rect">
              <a:avLst/>
            </a:prstGeom>
            <a:solidFill>
              <a:srgbClr val="90909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5" name="Rectangle 125"/>
            <p:cNvSpPr/>
            <p:nvPr/>
          </p:nvSpPr>
          <p:spPr>
            <a:xfrm>
              <a:off x="3354" y="3993"/>
              <a:ext cx="1" cy="5"/>
            </a:xfrm>
            <a:prstGeom prst="rect">
              <a:avLst/>
            </a:prstGeom>
            <a:solidFill>
              <a:srgbClr val="8E8E8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6" name="Rectangle 126"/>
            <p:cNvSpPr/>
            <p:nvPr/>
          </p:nvSpPr>
          <p:spPr>
            <a:xfrm>
              <a:off x="3355" y="3993"/>
              <a:ext cx="1" cy="5"/>
            </a:xfrm>
            <a:prstGeom prst="rect">
              <a:avLst/>
            </a:prstGeom>
            <a:solidFill>
              <a:srgbClr val="8C8C8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7" name="Rectangle 127"/>
            <p:cNvSpPr/>
            <p:nvPr/>
          </p:nvSpPr>
          <p:spPr>
            <a:xfrm>
              <a:off x="3356" y="3993"/>
              <a:ext cx="1" cy="5"/>
            </a:xfrm>
            <a:prstGeom prst="rect">
              <a:avLst/>
            </a:prstGeom>
            <a:solidFill>
              <a:srgbClr val="8A8A8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8" name="Rectangle 128"/>
            <p:cNvSpPr/>
            <p:nvPr/>
          </p:nvSpPr>
          <p:spPr>
            <a:xfrm>
              <a:off x="3357" y="3993"/>
              <a:ext cx="1" cy="5"/>
            </a:xfrm>
            <a:prstGeom prst="rect">
              <a:avLst/>
            </a:prstGeom>
            <a:solidFill>
              <a:srgbClr val="88888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49" name="Rectangle 129"/>
            <p:cNvSpPr/>
            <p:nvPr/>
          </p:nvSpPr>
          <p:spPr>
            <a:xfrm>
              <a:off x="3358" y="3993"/>
              <a:ext cx="1" cy="5"/>
            </a:xfrm>
            <a:prstGeom prst="rect">
              <a:avLst/>
            </a:prstGeom>
            <a:solidFill>
              <a:srgbClr val="86868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0" name="Rectangle 130"/>
            <p:cNvSpPr/>
            <p:nvPr/>
          </p:nvSpPr>
          <p:spPr>
            <a:xfrm>
              <a:off x="3359" y="3993"/>
              <a:ext cx="1" cy="5"/>
            </a:xfrm>
            <a:prstGeom prst="rect">
              <a:avLst/>
            </a:prstGeom>
            <a:solidFill>
              <a:srgbClr val="84848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1" name="Rectangle 131"/>
            <p:cNvSpPr/>
            <p:nvPr/>
          </p:nvSpPr>
          <p:spPr>
            <a:xfrm>
              <a:off x="3360" y="3993"/>
              <a:ext cx="1" cy="5"/>
            </a:xfrm>
            <a:prstGeom prst="rect">
              <a:avLst/>
            </a:prstGeom>
            <a:solidFill>
              <a:srgbClr val="81818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2" name="Rectangle 132"/>
            <p:cNvSpPr/>
            <p:nvPr/>
          </p:nvSpPr>
          <p:spPr>
            <a:xfrm>
              <a:off x="3361" y="3993"/>
              <a:ext cx="1" cy="5"/>
            </a:xfrm>
            <a:prstGeom prst="rect">
              <a:avLst/>
            </a:prstGeom>
            <a:solidFill>
              <a:srgbClr val="7F7F7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3" name="Rectangle 133"/>
            <p:cNvSpPr/>
            <p:nvPr/>
          </p:nvSpPr>
          <p:spPr>
            <a:xfrm>
              <a:off x="3362" y="3993"/>
              <a:ext cx="1" cy="5"/>
            </a:xfrm>
            <a:prstGeom prst="rect">
              <a:avLst/>
            </a:prstGeom>
            <a:solidFill>
              <a:srgbClr val="7E7E7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4" name="Rectangle 134"/>
            <p:cNvSpPr/>
            <p:nvPr/>
          </p:nvSpPr>
          <p:spPr>
            <a:xfrm>
              <a:off x="3363" y="3993"/>
              <a:ext cx="1" cy="5"/>
            </a:xfrm>
            <a:prstGeom prst="rect">
              <a:avLst/>
            </a:prstGeom>
            <a:solidFill>
              <a:srgbClr val="7C7C7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5" name="Rectangle 135"/>
            <p:cNvSpPr/>
            <p:nvPr/>
          </p:nvSpPr>
          <p:spPr>
            <a:xfrm>
              <a:off x="3364" y="3993"/>
              <a:ext cx="1" cy="5"/>
            </a:xfrm>
            <a:prstGeom prst="rect">
              <a:avLst/>
            </a:prstGeom>
            <a:solidFill>
              <a:srgbClr val="79797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6" name="Rectangle 136"/>
            <p:cNvSpPr/>
            <p:nvPr/>
          </p:nvSpPr>
          <p:spPr>
            <a:xfrm>
              <a:off x="3365" y="3993"/>
              <a:ext cx="1" cy="5"/>
            </a:xfrm>
            <a:prstGeom prst="rect">
              <a:avLst/>
            </a:prstGeom>
            <a:solidFill>
              <a:srgbClr val="77777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7" name="Rectangle 137"/>
            <p:cNvSpPr/>
            <p:nvPr/>
          </p:nvSpPr>
          <p:spPr>
            <a:xfrm>
              <a:off x="3366" y="3993"/>
              <a:ext cx="1" cy="5"/>
            </a:xfrm>
            <a:prstGeom prst="rect">
              <a:avLst/>
            </a:prstGeom>
            <a:solidFill>
              <a:srgbClr val="76767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8" name="Rectangle 138"/>
            <p:cNvSpPr/>
            <p:nvPr/>
          </p:nvSpPr>
          <p:spPr>
            <a:xfrm>
              <a:off x="3367" y="3993"/>
              <a:ext cx="1" cy="5"/>
            </a:xfrm>
            <a:prstGeom prst="rect">
              <a:avLst/>
            </a:prstGeom>
            <a:solidFill>
              <a:srgbClr val="74747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59" name="Rectangle 139"/>
            <p:cNvSpPr/>
            <p:nvPr/>
          </p:nvSpPr>
          <p:spPr>
            <a:xfrm>
              <a:off x="3368" y="3993"/>
              <a:ext cx="1" cy="5"/>
            </a:xfrm>
            <a:prstGeom prst="rect">
              <a:avLst/>
            </a:prstGeom>
            <a:solidFill>
              <a:srgbClr val="71717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0" name="Rectangle 140"/>
            <p:cNvSpPr/>
            <p:nvPr/>
          </p:nvSpPr>
          <p:spPr>
            <a:xfrm>
              <a:off x="3369" y="3993"/>
              <a:ext cx="1" cy="5"/>
            </a:xfrm>
            <a:prstGeom prst="rect">
              <a:avLst/>
            </a:prstGeom>
            <a:solidFill>
              <a:srgbClr val="70707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1" name="Rectangle 141"/>
            <p:cNvSpPr/>
            <p:nvPr/>
          </p:nvSpPr>
          <p:spPr>
            <a:xfrm>
              <a:off x="3370" y="3993"/>
              <a:ext cx="1" cy="5"/>
            </a:xfrm>
            <a:prstGeom prst="rect">
              <a:avLst/>
            </a:prstGeom>
            <a:solidFill>
              <a:srgbClr val="6E6E6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2" name="Rectangle 142"/>
            <p:cNvSpPr/>
            <p:nvPr/>
          </p:nvSpPr>
          <p:spPr>
            <a:xfrm>
              <a:off x="3371" y="3993"/>
              <a:ext cx="1" cy="5"/>
            </a:xfrm>
            <a:prstGeom prst="rect">
              <a:avLst/>
            </a:prstGeom>
            <a:solidFill>
              <a:srgbClr val="6D6D6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3" name="Rectangle 143"/>
            <p:cNvSpPr/>
            <p:nvPr/>
          </p:nvSpPr>
          <p:spPr>
            <a:xfrm>
              <a:off x="3372" y="3993"/>
              <a:ext cx="1" cy="5"/>
            </a:xfrm>
            <a:prstGeom prst="rect">
              <a:avLst/>
            </a:prstGeom>
            <a:solidFill>
              <a:srgbClr val="6B6B6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4" name="Rectangle 144"/>
            <p:cNvSpPr/>
            <p:nvPr/>
          </p:nvSpPr>
          <p:spPr>
            <a:xfrm>
              <a:off x="3373" y="3993"/>
              <a:ext cx="1" cy="5"/>
            </a:xfrm>
            <a:prstGeom prst="rect">
              <a:avLst/>
            </a:prstGeom>
            <a:solidFill>
              <a:srgbClr val="69696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5" name="Rectangle 145"/>
            <p:cNvSpPr/>
            <p:nvPr/>
          </p:nvSpPr>
          <p:spPr>
            <a:xfrm>
              <a:off x="3374" y="3993"/>
              <a:ext cx="1" cy="5"/>
            </a:xfrm>
            <a:prstGeom prst="rect">
              <a:avLst/>
            </a:prstGeom>
            <a:solidFill>
              <a:srgbClr val="68686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6" name="Rectangle 146"/>
            <p:cNvSpPr/>
            <p:nvPr/>
          </p:nvSpPr>
          <p:spPr>
            <a:xfrm>
              <a:off x="3375" y="3993"/>
              <a:ext cx="1" cy="5"/>
            </a:xfrm>
            <a:prstGeom prst="rect">
              <a:avLst/>
            </a:prstGeom>
            <a:solidFill>
              <a:srgbClr val="66666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7" name="Rectangle 147"/>
            <p:cNvSpPr/>
            <p:nvPr/>
          </p:nvSpPr>
          <p:spPr>
            <a:xfrm>
              <a:off x="3376" y="3993"/>
              <a:ext cx="1" cy="5"/>
            </a:xfrm>
            <a:prstGeom prst="rect">
              <a:avLst/>
            </a:prstGeom>
            <a:solidFill>
              <a:srgbClr val="65656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8" name="Rectangle 148"/>
            <p:cNvSpPr/>
            <p:nvPr/>
          </p:nvSpPr>
          <p:spPr>
            <a:xfrm>
              <a:off x="3377" y="3993"/>
              <a:ext cx="1" cy="5"/>
            </a:xfrm>
            <a:prstGeom prst="rect">
              <a:avLst/>
            </a:prstGeom>
            <a:solidFill>
              <a:srgbClr val="64646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69" name="Rectangle 149"/>
            <p:cNvSpPr/>
            <p:nvPr/>
          </p:nvSpPr>
          <p:spPr>
            <a:xfrm>
              <a:off x="3378" y="3993"/>
              <a:ext cx="1" cy="5"/>
            </a:xfrm>
            <a:prstGeom prst="rect">
              <a:avLst/>
            </a:prstGeom>
            <a:solidFill>
              <a:srgbClr val="62626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0" name="Rectangle 150"/>
            <p:cNvSpPr/>
            <p:nvPr/>
          </p:nvSpPr>
          <p:spPr>
            <a:xfrm>
              <a:off x="3379" y="3993"/>
              <a:ext cx="1" cy="5"/>
            </a:xfrm>
            <a:prstGeom prst="rect">
              <a:avLst/>
            </a:prstGeom>
            <a:solidFill>
              <a:srgbClr val="61616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1" name="Rectangle 151"/>
            <p:cNvSpPr/>
            <p:nvPr/>
          </p:nvSpPr>
          <p:spPr>
            <a:xfrm>
              <a:off x="3380" y="3993"/>
              <a:ext cx="1" cy="5"/>
            </a:xfrm>
            <a:prstGeom prst="rect">
              <a:avLst/>
            </a:prstGeom>
            <a:solidFill>
              <a:srgbClr val="60606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2" name="Rectangle 152"/>
            <p:cNvSpPr/>
            <p:nvPr/>
          </p:nvSpPr>
          <p:spPr>
            <a:xfrm>
              <a:off x="3381" y="3993"/>
              <a:ext cx="1" cy="5"/>
            </a:xfrm>
            <a:prstGeom prst="rect">
              <a:avLst/>
            </a:prstGeom>
            <a:solidFill>
              <a:srgbClr val="5F5F5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3" name="Rectangle 153"/>
            <p:cNvSpPr/>
            <p:nvPr/>
          </p:nvSpPr>
          <p:spPr>
            <a:xfrm>
              <a:off x="3382" y="3993"/>
              <a:ext cx="1" cy="5"/>
            </a:xfrm>
            <a:prstGeom prst="rect">
              <a:avLst/>
            </a:prstGeom>
            <a:solidFill>
              <a:srgbClr val="5E5E5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4" name="Rectangle 154"/>
            <p:cNvSpPr/>
            <p:nvPr/>
          </p:nvSpPr>
          <p:spPr>
            <a:xfrm>
              <a:off x="3383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5" name="Rectangle 155"/>
            <p:cNvSpPr/>
            <p:nvPr/>
          </p:nvSpPr>
          <p:spPr>
            <a:xfrm>
              <a:off x="3384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6" name="Rectangle 156"/>
            <p:cNvSpPr/>
            <p:nvPr/>
          </p:nvSpPr>
          <p:spPr>
            <a:xfrm>
              <a:off x="3385" y="3993"/>
              <a:ext cx="1" cy="5"/>
            </a:xfrm>
            <a:prstGeom prst="rect">
              <a:avLst/>
            </a:prstGeom>
            <a:solidFill>
              <a:srgbClr val="5C5C5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7" name="Rectangle 157"/>
            <p:cNvSpPr/>
            <p:nvPr/>
          </p:nvSpPr>
          <p:spPr>
            <a:xfrm>
              <a:off x="3386" y="3993"/>
              <a:ext cx="1" cy="5"/>
            </a:xfrm>
            <a:prstGeom prst="rect">
              <a:avLst/>
            </a:prstGeom>
            <a:solidFill>
              <a:srgbClr val="5B5B5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8" name="Rectangle 158"/>
            <p:cNvSpPr/>
            <p:nvPr/>
          </p:nvSpPr>
          <p:spPr>
            <a:xfrm>
              <a:off x="3387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79" name="Rectangle 159"/>
            <p:cNvSpPr/>
            <p:nvPr/>
          </p:nvSpPr>
          <p:spPr>
            <a:xfrm>
              <a:off x="3388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80" name="Rectangle 160"/>
            <p:cNvSpPr/>
            <p:nvPr/>
          </p:nvSpPr>
          <p:spPr>
            <a:xfrm>
              <a:off x="3389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81" name="Rectangle 161"/>
            <p:cNvSpPr/>
            <p:nvPr/>
          </p:nvSpPr>
          <p:spPr>
            <a:xfrm>
              <a:off x="3390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8435" name="Text Box 162"/>
          <p:cNvSpPr/>
          <p:nvPr/>
        </p:nvSpPr>
        <p:spPr>
          <a:xfrm>
            <a:off x="0" y="157163"/>
            <a:ext cx="2457450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织体系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36" name="AutoShape 163" descr="Small checker board"/>
          <p:cNvSpPr/>
          <p:nvPr/>
        </p:nvSpPr>
        <p:spPr>
          <a:xfrm>
            <a:off x="4705350" y="2514600"/>
            <a:ext cx="577850" cy="457200"/>
          </a:xfrm>
          <a:prstGeom prst="parallelogram">
            <a:avLst>
              <a:gd name="adj" fmla="val 31597"/>
            </a:avLst>
          </a:prstGeom>
          <a:pattFill prst="smCheck">
            <a:fgClr>
              <a:srgbClr val="FF6600"/>
            </a:fgClr>
            <a:bgClr>
              <a:schemeClr val="bg1"/>
            </a:bgClr>
          </a:pattFill>
          <a:ln w="12700" cap="flat" cmpd="sng">
            <a:solidFill>
              <a:schemeClr val="bg1"/>
            </a:solidFill>
            <a:prstDash val="solid"/>
            <a:miter/>
            <a:headEnd type="none" w="sm" len="sm"/>
            <a:tailEnd type="none" w="sm" len="sm"/>
          </a:ln>
        </p:spPr>
        <p:txBody>
          <a:bodyPr wrap="none" anchor="ctr"/>
          <a:lstStyle/>
          <a:p>
            <a:pPr lvl="0" eaLnBrk="1" hangingPunct="1"/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37" name="AutoShape 164" descr="Small checker board"/>
          <p:cNvSpPr/>
          <p:nvPr/>
        </p:nvSpPr>
        <p:spPr>
          <a:xfrm>
            <a:off x="4870450" y="2133600"/>
            <a:ext cx="577850" cy="381000"/>
          </a:xfrm>
          <a:prstGeom prst="parallelogram">
            <a:avLst>
              <a:gd name="adj" fmla="val 37916"/>
            </a:avLst>
          </a:prstGeom>
          <a:pattFill prst="smCheck">
            <a:fgClr>
              <a:srgbClr val="FF6600"/>
            </a:fgClr>
            <a:bgClr>
              <a:schemeClr val="bg1"/>
            </a:bgClr>
          </a:pattFill>
          <a:ln w="12700" cap="flat" cmpd="sng">
            <a:solidFill>
              <a:schemeClr val="bg1"/>
            </a:solidFill>
            <a:prstDash val="solid"/>
            <a:miter/>
            <a:headEnd type="none" w="sm" len="sm"/>
            <a:tailEnd type="none" w="sm" len="sm"/>
          </a:ln>
        </p:spPr>
        <p:txBody>
          <a:bodyPr wrap="none" anchor="ctr"/>
          <a:lstStyle/>
          <a:p>
            <a:pPr lvl="0" eaLnBrk="1" hangingPunct="1"/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645" name="AutoShape 165"/>
          <p:cNvSpPr>
            <a:spLocks noChangeArrowheads="1"/>
          </p:cNvSpPr>
          <p:nvPr/>
        </p:nvSpPr>
        <p:spPr bwMode="auto">
          <a:xfrm>
            <a:off x="846138" y="1196975"/>
            <a:ext cx="1065213" cy="4176713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</a:ln>
          <a:effectLst/>
        </p:spPr>
        <p:txBody>
          <a:bodyPr vert="eaVert" wrap="none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以建立强有力的自主</a:t>
            </a:r>
            <a:endParaRPr kumimoji="1" lang="zh-CN" alt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现地管理体制为目标</a:t>
            </a:r>
            <a:endParaRPr kumimoji="1" lang="ja-JP" alt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grpSp>
        <p:nvGrpSpPr>
          <p:cNvPr id="18439" name="Group 166"/>
          <p:cNvGrpSpPr/>
          <p:nvPr/>
        </p:nvGrpSpPr>
        <p:grpSpPr>
          <a:xfrm>
            <a:off x="5562600" y="5946775"/>
            <a:ext cx="269875" cy="11113"/>
            <a:chOff x="3234" y="3993"/>
            <a:chExt cx="157" cy="5"/>
          </a:xfrm>
        </p:grpSpPr>
        <p:sp>
          <p:nvSpPr>
            <p:cNvPr id="18466" name="Rectangle 167"/>
            <p:cNvSpPr/>
            <p:nvPr/>
          </p:nvSpPr>
          <p:spPr>
            <a:xfrm>
              <a:off x="3234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67" name="Rectangle 168"/>
            <p:cNvSpPr/>
            <p:nvPr/>
          </p:nvSpPr>
          <p:spPr>
            <a:xfrm>
              <a:off x="3235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68" name="Rectangle 169"/>
            <p:cNvSpPr/>
            <p:nvPr/>
          </p:nvSpPr>
          <p:spPr>
            <a:xfrm>
              <a:off x="3236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69" name="Rectangle 170"/>
            <p:cNvSpPr/>
            <p:nvPr/>
          </p:nvSpPr>
          <p:spPr>
            <a:xfrm>
              <a:off x="3237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0" name="Rectangle 171"/>
            <p:cNvSpPr/>
            <p:nvPr/>
          </p:nvSpPr>
          <p:spPr>
            <a:xfrm>
              <a:off x="3238" y="3993"/>
              <a:ext cx="1" cy="5"/>
            </a:xfrm>
            <a:prstGeom prst="rect">
              <a:avLst/>
            </a:prstGeom>
            <a:solidFill>
              <a:srgbClr val="5B5B5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1" name="Rectangle 172"/>
            <p:cNvSpPr/>
            <p:nvPr/>
          </p:nvSpPr>
          <p:spPr>
            <a:xfrm>
              <a:off x="3239" y="3993"/>
              <a:ext cx="1" cy="5"/>
            </a:xfrm>
            <a:prstGeom prst="rect">
              <a:avLst/>
            </a:prstGeom>
            <a:solidFill>
              <a:srgbClr val="5C5C5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2" name="Rectangle 173"/>
            <p:cNvSpPr/>
            <p:nvPr/>
          </p:nvSpPr>
          <p:spPr>
            <a:xfrm>
              <a:off x="3240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3" name="Rectangle 174"/>
            <p:cNvSpPr/>
            <p:nvPr/>
          </p:nvSpPr>
          <p:spPr>
            <a:xfrm>
              <a:off x="3241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4" name="Rectangle 175"/>
            <p:cNvSpPr/>
            <p:nvPr/>
          </p:nvSpPr>
          <p:spPr>
            <a:xfrm>
              <a:off x="3242" y="3993"/>
              <a:ext cx="1" cy="5"/>
            </a:xfrm>
            <a:prstGeom prst="rect">
              <a:avLst/>
            </a:prstGeom>
            <a:solidFill>
              <a:srgbClr val="5E5E5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5" name="Rectangle 176"/>
            <p:cNvSpPr/>
            <p:nvPr/>
          </p:nvSpPr>
          <p:spPr>
            <a:xfrm>
              <a:off x="3243" y="3993"/>
              <a:ext cx="1" cy="5"/>
            </a:xfrm>
            <a:prstGeom prst="rect">
              <a:avLst/>
            </a:prstGeom>
            <a:solidFill>
              <a:srgbClr val="5F5F5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6" name="Rectangle 177"/>
            <p:cNvSpPr/>
            <p:nvPr/>
          </p:nvSpPr>
          <p:spPr>
            <a:xfrm>
              <a:off x="3244" y="3993"/>
              <a:ext cx="1" cy="5"/>
            </a:xfrm>
            <a:prstGeom prst="rect">
              <a:avLst/>
            </a:prstGeom>
            <a:solidFill>
              <a:srgbClr val="60606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7" name="Rectangle 178"/>
            <p:cNvSpPr/>
            <p:nvPr/>
          </p:nvSpPr>
          <p:spPr>
            <a:xfrm>
              <a:off x="3245" y="3993"/>
              <a:ext cx="1" cy="5"/>
            </a:xfrm>
            <a:prstGeom prst="rect">
              <a:avLst/>
            </a:prstGeom>
            <a:solidFill>
              <a:srgbClr val="61616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8" name="Rectangle 179"/>
            <p:cNvSpPr/>
            <p:nvPr/>
          </p:nvSpPr>
          <p:spPr>
            <a:xfrm>
              <a:off x="3246" y="3993"/>
              <a:ext cx="1" cy="5"/>
            </a:xfrm>
            <a:prstGeom prst="rect">
              <a:avLst/>
            </a:prstGeom>
            <a:solidFill>
              <a:srgbClr val="62626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79" name="Rectangle 180"/>
            <p:cNvSpPr/>
            <p:nvPr/>
          </p:nvSpPr>
          <p:spPr>
            <a:xfrm>
              <a:off x="3247" y="3993"/>
              <a:ext cx="1" cy="5"/>
            </a:xfrm>
            <a:prstGeom prst="rect">
              <a:avLst/>
            </a:prstGeom>
            <a:solidFill>
              <a:srgbClr val="64646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0" name="Rectangle 181"/>
            <p:cNvSpPr/>
            <p:nvPr/>
          </p:nvSpPr>
          <p:spPr>
            <a:xfrm>
              <a:off x="3248" y="3993"/>
              <a:ext cx="1" cy="5"/>
            </a:xfrm>
            <a:prstGeom prst="rect">
              <a:avLst/>
            </a:prstGeom>
            <a:solidFill>
              <a:srgbClr val="65656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1" name="Rectangle 182"/>
            <p:cNvSpPr/>
            <p:nvPr/>
          </p:nvSpPr>
          <p:spPr>
            <a:xfrm>
              <a:off x="3249" y="3993"/>
              <a:ext cx="1" cy="5"/>
            </a:xfrm>
            <a:prstGeom prst="rect">
              <a:avLst/>
            </a:prstGeom>
            <a:solidFill>
              <a:srgbClr val="66666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2" name="Rectangle 183"/>
            <p:cNvSpPr/>
            <p:nvPr/>
          </p:nvSpPr>
          <p:spPr>
            <a:xfrm>
              <a:off x="3250" y="3993"/>
              <a:ext cx="1" cy="5"/>
            </a:xfrm>
            <a:prstGeom prst="rect">
              <a:avLst/>
            </a:prstGeom>
            <a:solidFill>
              <a:srgbClr val="68686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3" name="Rectangle 184"/>
            <p:cNvSpPr/>
            <p:nvPr/>
          </p:nvSpPr>
          <p:spPr>
            <a:xfrm>
              <a:off x="3251" y="3993"/>
              <a:ext cx="1" cy="5"/>
            </a:xfrm>
            <a:prstGeom prst="rect">
              <a:avLst/>
            </a:prstGeom>
            <a:solidFill>
              <a:srgbClr val="69696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4" name="Rectangle 185"/>
            <p:cNvSpPr/>
            <p:nvPr/>
          </p:nvSpPr>
          <p:spPr>
            <a:xfrm>
              <a:off x="3252" y="3993"/>
              <a:ext cx="1" cy="5"/>
            </a:xfrm>
            <a:prstGeom prst="rect">
              <a:avLst/>
            </a:prstGeom>
            <a:solidFill>
              <a:srgbClr val="6B6B6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5" name="Rectangle 186"/>
            <p:cNvSpPr/>
            <p:nvPr/>
          </p:nvSpPr>
          <p:spPr>
            <a:xfrm>
              <a:off x="3253" y="3993"/>
              <a:ext cx="1" cy="5"/>
            </a:xfrm>
            <a:prstGeom prst="rect">
              <a:avLst/>
            </a:prstGeom>
            <a:solidFill>
              <a:srgbClr val="6D6D6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6" name="Rectangle 187"/>
            <p:cNvSpPr/>
            <p:nvPr/>
          </p:nvSpPr>
          <p:spPr>
            <a:xfrm>
              <a:off x="3254" y="3993"/>
              <a:ext cx="1" cy="5"/>
            </a:xfrm>
            <a:prstGeom prst="rect">
              <a:avLst/>
            </a:prstGeom>
            <a:solidFill>
              <a:srgbClr val="6E6E6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7" name="Rectangle 188"/>
            <p:cNvSpPr/>
            <p:nvPr/>
          </p:nvSpPr>
          <p:spPr>
            <a:xfrm>
              <a:off x="3255" y="3993"/>
              <a:ext cx="1" cy="5"/>
            </a:xfrm>
            <a:prstGeom prst="rect">
              <a:avLst/>
            </a:prstGeom>
            <a:solidFill>
              <a:srgbClr val="70707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8" name="Rectangle 189"/>
            <p:cNvSpPr/>
            <p:nvPr/>
          </p:nvSpPr>
          <p:spPr>
            <a:xfrm>
              <a:off x="3256" y="3993"/>
              <a:ext cx="1" cy="5"/>
            </a:xfrm>
            <a:prstGeom prst="rect">
              <a:avLst/>
            </a:prstGeom>
            <a:solidFill>
              <a:srgbClr val="71717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89" name="Rectangle 190"/>
            <p:cNvSpPr/>
            <p:nvPr/>
          </p:nvSpPr>
          <p:spPr>
            <a:xfrm>
              <a:off x="3257" y="3993"/>
              <a:ext cx="1" cy="5"/>
            </a:xfrm>
            <a:prstGeom prst="rect">
              <a:avLst/>
            </a:prstGeom>
            <a:solidFill>
              <a:srgbClr val="74747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0" name="Rectangle 191"/>
            <p:cNvSpPr/>
            <p:nvPr/>
          </p:nvSpPr>
          <p:spPr>
            <a:xfrm>
              <a:off x="3258" y="3993"/>
              <a:ext cx="1" cy="5"/>
            </a:xfrm>
            <a:prstGeom prst="rect">
              <a:avLst/>
            </a:prstGeom>
            <a:solidFill>
              <a:srgbClr val="76767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1" name="Rectangle 192"/>
            <p:cNvSpPr/>
            <p:nvPr/>
          </p:nvSpPr>
          <p:spPr>
            <a:xfrm>
              <a:off x="3259" y="3993"/>
              <a:ext cx="1" cy="5"/>
            </a:xfrm>
            <a:prstGeom prst="rect">
              <a:avLst/>
            </a:prstGeom>
            <a:solidFill>
              <a:srgbClr val="77777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2" name="Rectangle 193"/>
            <p:cNvSpPr/>
            <p:nvPr/>
          </p:nvSpPr>
          <p:spPr>
            <a:xfrm>
              <a:off x="3260" y="3993"/>
              <a:ext cx="1" cy="5"/>
            </a:xfrm>
            <a:prstGeom prst="rect">
              <a:avLst/>
            </a:prstGeom>
            <a:solidFill>
              <a:srgbClr val="79797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3" name="Rectangle 194"/>
            <p:cNvSpPr/>
            <p:nvPr/>
          </p:nvSpPr>
          <p:spPr>
            <a:xfrm>
              <a:off x="3261" y="3993"/>
              <a:ext cx="1" cy="5"/>
            </a:xfrm>
            <a:prstGeom prst="rect">
              <a:avLst/>
            </a:prstGeom>
            <a:solidFill>
              <a:srgbClr val="7C7C7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4" name="Rectangle 195"/>
            <p:cNvSpPr/>
            <p:nvPr/>
          </p:nvSpPr>
          <p:spPr>
            <a:xfrm>
              <a:off x="3262" y="3993"/>
              <a:ext cx="1" cy="5"/>
            </a:xfrm>
            <a:prstGeom prst="rect">
              <a:avLst/>
            </a:prstGeom>
            <a:solidFill>
              <a:srgbClr val="7E7E7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5" name="Rectangle 196"/>
            <p:cNvSpPr/>
            <p:nvPr/>
          </p:nvSpPr>
          <p:spPr>
            <a:xfrm>
              <a:off x="3263" y="3993"/>
              <a:ext cx="1" cy="5"/>
            </a:xfrm>
            <a:prstGeom prst="rect">
              <a:avLst/>
            </a:prstGeom>
            <a:solidFill>
              <a:srgbClr val="7F7F7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6" name="Rectangle 197"/>
            <p:cNvSpPr/>
            <p:nvPr/>
          </p:nvSpPr>
          <p:spPr>
            <a:xfrm>
              <a:off x="3264" y="3993"/>
              <a:ext cx="1" cy="5"/>
            </a:xfrm>
            <a:prstGeom prst="rect">
              <a:avLst/>
            </a:prstGeom>
            <a:solidFill>
              <a:srgbClr val="81818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7" name="Rectangle 198"/>
            <p:cNvSpPr/>
            <p:nvPr/>
          </p:nvSpPr>
          <p:spPr>
            <a:xfrm>
              <a:off x="3265" y="3993"/>
              <a:ext cx="1" cy="5"/>
            </a:xfrm>
            <a:prstGeom prst="rect">
              <a:avLst/>
            </a:prstGeom>
            <a:solidFill>
              <a:srgbClr val="84848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8" name="Rectangle 199"/>
            <p:cNvSpPr/>
            <p:nvPr/>
          </p:nvSpPr>
          <p:spPr>
            <a:xfrm>
              <a:off x="3266" y="3993"/>
              <a:ext cx="1" cy="5"/>
            </a:xfrm>
            <a:prstGeom prst="rect">
              <a:avLst/>
            </a:prstGeom>
            <a:solidFill>
              <a:srgbClr val="86868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99" name="Rectangle 200"/>
            <p:cNvSpPr/>
            <p:nvPr/>
          </p:nvSpPr>
          <p:spPr>
            <a:xfrm>
              <a:off x="3267" y="3993"/>
              <a:ext cx="1" cy="5"/>
            </a:xfrm>
            <a:prstGeom prst="rect">
              <a:avLst/>
            </a:prstGeom>
            <a:solidFill>
              <a:srgbClr val="88888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0" name="Rectangle 201"/>
            <p:cNvSpPr/>
            <p:nvPr/>
          </p:nvSpPr>
          <p:spPr>
            <a:xfrm>
              <a:off x="3268" y="3993"/>
              <a:ext cx="1" cy="5"/>
            </a:xfrm>
            <a:prstGeom prst="rect">
              <a:avLst/>
            </a:prstGeom>
            <a:solidFill>
              <a:srgbClr val="8A8A8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1" name="Rectangle 202"/>
            <p:cNvSpPr/>
            <p:nvPr/>
          </p:nvSpPr>
          <p:spPr>
            <a:xfrm>
              <a:off x="3269" y="3993"/>
              <a:ext cx="1" cy="5"/>
            </a:xfrm>
            <a:prstGeom prst="rect">
              <a:avLst/>
            </a:prstGeom>
            <a:solidFill>
              <a:srgbClr val="8C8C8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2" name="Rectangle 203"/>
            <p:cNvSpPr/>
            <p:nvPr/>
          </p:nvSpPr>
          <p:spPr>
            <a:xfrm>
              <a:off x="3270" y="3993"/>
              <a:ext cx="1" cy="5"/>
            </a:xfrm>
            <a:prstGeom prst="rect">
              <a:avLst/>
            </a:prstGeom>
            <a:solidFill>
              <a:srgbClr val="8E8E8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3" name="Rectangle 204"/>
            <p:cNvSpPr/>
            <p:nvPr/>
          </p:nvSpPr>
          <p:spPr>
            <a:xfrm>
              <a:off x="3271" y="3993"/>
              <a:ext cx="1" cy="5"/>
            </a:xfrm>
            <a:prstGeom prst="rect">
              <a:avLst/>
            </a:prstGeom>
            <a:solidFill>
              <a:srgbClr val="90909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4" name="Rectangle 205"/>
            <p:cNvSpPr/>
            <p:nvPr/>
          </p:nvSpPr>
          <p:spPr>
            <a:xfrm>
              <a:off x="3272" y="3993"/>
              <a:ext cx="1" cy="5"/>
            </a:xfrm>
            <a:prstGeom prst="rect">
              <a:avLst/>
            </a:prstGeom>
            <a:solidFill>
              <a:srgbClr val="92929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5" name="Rectangle 206"/>
            <p:cNvSpPr/>
            <p:nvPr/>
          </p:nvSpPr>
          <p:spPr>
            <a:xfrm>
              <a:off x="3273" y="3993"/>
              <a:ext cx="1" cy="5"/>
            </a:xfrm>
            <a:prstGeom prst="rect">
              <a:avLst/>
            </a:prstGeom>
            <a:solidFill>
              <a:srgbClr val="95959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6" name="Rectangle 207"/>
            <p:cNvSpPr/>
            <p:nvPr/>
          </p:nvSpPr>
          <p:spPr>
            <a:xfrm>
              <a:off x="3274" y="3993"/>
              <a:ext cx="1" cy="5"/>
            </a:xfrm>
            <a:prstGeom prst="rect">
              <a:avLst/>
            </a:prstGeom>
            <a:solidFill>
              <a:srgbClr val="97979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7" name="Rectangle 208"/>
            <p:cNvSpPr/>
            <p:nvPr/>
          </p:nvSpPr>
          <p:spPr>
            <a:xfrm>
              <a:off x="3275" y="3993"/>
              <a:ext cx="1" cy="5"/>
            </a:xfrm>
            <a:prstGeom prst="rect">
              <a:avLst/>
            </a:prstGeom>
            <a:solidFill>
              <a:srgbClr val="99999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8" name="Rectangle 209"/>
            <p:cNvSpPr/>
            <p:nvPr/>
          </p:nvSpPr>
          <p:spPr>
            <a:xfrm>
              <a:off x="3276" y="3993"/>
              <a:ext cx="1" cy="5"/>
            </a:xfrm>
            <a:prstGeom prst="rect">
              <a:avLst/>
            </a:prstGeom>
            <a:solidFill>
              <a:srgbClr val="9A9A9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09" name="Rectangle 210"/>
            <p:cNvSpPr/>
            <p:nvPr/>
          </p:nvSpPr>
          <p:spPr>
            <a:xfrm>
              <a:off x="3276" y="3993"/>
              <a:ext cx="1" cy="5"/>
            </a:xfrm>
            <a:prstGeom prst="rect">
              <a:avLst/>
            </a:prstGeom>
            <a:solidFill>
              <a:srgbClr val="9C9C9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0" name="Rectangle 211"/>
            <p:cNvSpPr/>
            <p:nvPr/>
          </p:nvSpPr>
          <p:spPr>
            <a:xfrm>
              <a:off x="3277" y="3993"/>
              <a:ext cx="1" cy="5"/>
            </a:xfrm>
            <a:prstGeom prst="rect">
              <a:avLst/>
            </a:prstGeom>
            <a:solidFill>
              <a:srgbClr val="9E9E9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1" name="Rectangle 212"/>
            <p:cNvSpPr/>
            <p:nvPr/>
          </p:nvSpPr>
          <p:spPr>
            <a:xfrm>
              <a:off x="3278" y="3993"/>
              <a:ext cx="1" cy="5"/>
            </a:xfrm>
            <a:prstGeom prst="rect">
              <a:avLst/>
            </a:prstGeom>
            <a:solidFill>
              <a:srgbClr val="A0A0A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2" name="Rectangle 213"/>
            <p:cNvSpPr/>
            <p:nvPr/>
          </p:nvSpPr>
          <p:spPr>
            <a:xfrm>
              <a:off x="3279" y="3993"/>
              <a:ext cx="1" cy="5"/>
            </a:xfrm>
            <a:prstGeom prst="rect">
              <a:avLst/>
            </a:prstGeom>
            <a:solidFill>
              <a:srgbClr val="A2A2A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3" name="Rectangle 214"/>
            <p:cNvSpPr/>
            <p:nvPr/>
          </p:nvSpPr>
          <p:spPr>
            <a:xfrm>
              <a:off x="3280" y="3993"/>
              <a:ext cx="1" cy="5"/>
            </a:xfrm>
            <a:prstGeom prst="rect">
              <a:avLst/>
            </a:prstGeom>
            <a:solidFill>
              <a:srgbClr val="A3A3A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4" name="Rectangle 215"/>
            <p:cNvSpPr/>
            <p:nvPr/>
          </p:nvSpPr>
          <p:spPr>
            <a:xfrm>
              <a:off x="3281" y="3993"/>
              <a:ext cx="1" cy="5"/>
            </a:xfrm>
            <a:prstGeom prst="rect">
              <a:avLst/>
            </a:prstGeom>
            <a:solidFill>
              <a:srgbClr val="A5A5A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5" name="Rectangle 216"/>
            <p:cNvSpPr/>
            <p:nvPr/>
          </p:nvSpPr>
          <p:spPr>
            <a:xfrm>
              <a:off x="3282" y="3993"/>
              <a:ext cx="1" cy="5"/>
            </a:xfrm>
            <a:prstGeom prst="rect">
              <a:avLst/>
            </a:prstGeom>
            <a:solidFill>
              <a:srgbClr val="A7A7A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6" name="Rectangle 217"/>
            <p:cNvSpPr/>
            <p:nvPr/>
          </p:nvSpPr>
          <p:spPr>
            <a:xfrm>
              <a:off x="3283" y="3993"/>
              <a:ext cx="1" cy="5"/>
            </a:xfrm>
            <a:prstGeom prst="rect">
              <a:avLst/>
            </a:prstGeom>
            <a:solidFill>
              <a:srgbClr val="A8A8A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7" name="Rectangle 218"/>
            <p:cNvSpPr/>
            <p:nvPr/>
          </p:nvSpPr>
          <p:spPr>
            <a:xfrm>
              <a:off x="3284" y="3993"/>
              <a:ext cx="1" cy="5"/>
            </a:xfrm>
            <a:prstGeom prst="rect">
              <a:avLst/>
            </a:prstGeom>
            <a:solidFill>
              <a:srgbClr val="AAAAA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8" name="Rectangle 219"/>
            <p:cNvSpPr/>
            <p:nvPr/>
          </p:nvSpPr>
          <p:spPr>
            <a:xfrm>
              <a:off x="3285" y="3993"/>
              <a:ext cx="1" cy="5"/>
            </a:xfrm>
            <a:prstGeom prst="rect">
              <a:avLst/>
            </a:prstGeom>
            <a:solidFill>
              <a:srgbClr val="ACACA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19" name="Rectangle 220"/>
            <p:cNvSpPr/>
            <p:nvPr/>
          </p:nvSpPr>
          <p:spPr>
            <a:xfrm>
              <a:off x="3286" y="3993"/>
              <a:ext cx="1" cy="5"/>
            </a:xfrm>
            <a:prstGeom prst="rect">
              <a:avLst/>
            </a:prstGeom>
            <a:solidFill>
              <a:srgbClr val="ADADA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0" name="Rectangle 221"/>
            <p:cNvSpPr/>
            <p:nvPr/>
          </p:nvSpPr>
          <p:spPr>
            <a:xfrm>
              <a:off x="3287" y="3993"/>
              <a:ext cx="1" cy="5"/>
            </a:xfrm>
            <a:prstGeom prst="rect">
              <a:avLst/>
            </a:prstGeom>
            <a:solidFill>
              <a:srgbClr val="AEAEA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1" name="Rectangle 222"/>
            <p:cNvSpPr/>
            <p:nvPr/>
          </p:nvSpPr>
          <p:spPr>
            <a:xfrm>
              <a:off x="3288" y="3993"/>
              <a:ext cx="1" cy="5"/>
            </a:xfrm>
            <a:prstGeom prst="rect">
              <a:avLst/>
            </a:prstGeom>
            <a:solidFill>
              <a:srgbClr val="AFAFA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2" name="Rectangle 223"/>
            <p:cNvSpPr/>
            <p:nvPr/>
          </p:nvSpPr>
          <p:spPr>
            <a:xfrm>
              <a:off x="3289" y="3993"/>
              <a:ext cx="1" cy="5"/>
            </a:xfrm>
            <a:prstGeom prst="rect">
              <a:avLst/>
            </a:prstGeom>
            <a:solidFill>
              <a:srgbClr val="B1B1B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3" name="Rectangle 224"/>
            <p:cNvSpPr/>
            <p:nvPr/>
          </p:nvSpPr>
          <p:spPr>
            <a:xfrm>
              <a:off x="3290" y="3993"/>
              <a:ext cx="1" cy="5"/>
            </a:xfrm>
            <a:prstGeom prst="rect">
              <a:avLst/>
            </a:prstGeom>
            <a:solidFill>
              <a:srgbClr val="B2B2B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4" name="Rectangle 225"/>
            <p:cNvSpPr/>
            <p:nvPr/>
          </p:nvSpPr>
          <p:spPr>
            <a:xfrm>
              <a:off x="3291" y="3993"/>
              <a:ext cx="1" cy="5"/>
            </a:xfrm>
            <a:prstGeom prst="rect">
              <a:avLst/>
            </a:prstGeom>
            <a:solidFill>
              <a:srgbClr val="B3B3B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5" name="Rectangle 226"/>
            <p:cNvSpPr/>
            <p:nvPr/>
          </p:nvSpPr>
          <p:spPr>
            <a:xfrm>
              <a:off x="3292" y="3993"/>
              <a:ext cx="1" cy="5"/>
            </a:xfrm>
            <a:prstGeom prst="rect">
              <a:avLst/>
            </a:prstGeom>
            <a:solidFill>
              <a:srgbClr val="B4B4B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6" name="Rectangle 227"/>
            <p:cNvSpPr/>
            <p:nvPr/>
          </p:nvSpPr>
          <p:spPr>
            <a:xfrm>
              <a:off x="3293" y="3993"/>
              <a:ext cx="1" cy="5"/>
            </a:xfrm>
            <a:prstGeom prst="rect">
              <a:avLst/>
            </a:prstGeom>
            <a:solidFill>
              <a:srgbClr val="B5B5B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7" name="Rectangle 228"/>
            <p:cNvSpPr/>
            <p:nvPr/>
          </p:nvSpPr>
          <p:spPr>
            <a:xfrm>
              <a:off x="3294" y="3993"/>
              <a:ext cx="1" cy="5"/>
            </a:xfrm>
            <a:prstGeom prst="rect">
              <a:avLst/>
            </a:prstGeom>
            <a:solidFill>
              <a:srgbClr val="B6B6B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8" name="Rectangle 229"/>
            <p:cNvSpPr/>
            <p:nvPr/>
          </p:nvSpPr>
          <p:spPr>
            <a:xfrm>
              <a:off x="3295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29" name="Rectangle 230"/>
            <p:cNvSpPr/>
            <p:nvPr/>
          </p:nvSpPr>
          <p:spPr>
            <a:xfrm>
              <a:off x="3296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0" name="Rectangle 231"/>
            <p:cNvSpPr/>
            <p:nvPr/>
          </p:nvSpPr>
          <p:spPr>
            <a:xfrm>
              <a:off x="3297" y="3993"/>
              <a:ext cx="1" cy="5"/>
            </a:xfrm>
            <a:prstGeom prst="rect">
              <a:avLst/>
            </a:prstGeom>
            <a:solidFill>
              <a:srgbClr val="B8B8B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1" name="Rectangle 232"/>
            <p:cNvSpPr/>
            <p:nvPr/>
          </p:nvSpPr>
          <p:spPr>
            <a:xfrm>
              <a:off x="3298" y="3993"/>
              <a:ext cx="1" cy="5"/>
            </a:xfrm>
            <a:prstGeom prst="rect">
              <a:avLst/>
            </a:prstGeom>
            <a:solidFill>
              <a:srgbClr val="B9B9B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2" name="Rectangle 233"/>
            <p:cNvSpPr/>
            <p:nvPr/>
          </p:nvSpPr>
          <p:spPr>
            <a:xfrm>
              <a:off x="3299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3" name="Rectangle 234"/>
            <p:cNvSpPr/>
            <p:nvPr/>
          </p:nvSpPr>
          <p:spPr>
            <a:xfrm>
              <a:off x="3300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4" name="Rectangle 235"/>
            <p:cNvSpPr/>
            <p:nvPr/>
          </p:nvSpPr>
          <p:spPr>
            <a:xfrm>
              <a:off x="3301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5" name="Rectangle 236"/>
            <p:cNvSpPr/>
            <p:nvPr/>
          </p:nvSpPr>
          <p:spPr>
            <a:xfrm>
              <a:off x="3302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6" name="Rectangle 237"/>
            <p:cNvSpPr/>
            <p:nvPr/>
          </p:nvSpPr>
          <p:spPr>
            <a:xfrm>
              <a:off x="3303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7" name="Rectangle 238"/>
            <p:cNvSpPr/>
            <p:nvPr/>
          </p:nvSpPr>
          <p:spPr>
            <a:xfrm>
              <a:off x="3304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8" name="Rectangle 239"/>
            <p:cNvSpPr/>
            <p:nvPr/>
          </p:nvSpPr>
          <p:spPr>
            <a:xfrm>
              <a:off x="3305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39" name="Rectangle 240"/>
            <p:cNvSpPr/>
            <p:nvPr/>
          </p:nvSpPr>
          <p:spPr>
            <a:xfrm>
              <a:off x="3306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0" name="Rectangle 241"/>
            <p:cNvSpPr/>
            <p:nvPr/>
          </p:nvSpPr>
          <p:spPr>
            <a:xfrm>
              <a:off x="3307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1" name="Rectangle 242"/>
            <p:cNvSpPr/>
            <p:nvPr/>
          </p:nvSpPr>
          <p:spPr>
            <a:xfrm>
              <a:off x="3308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2" name="Rectangle 243"/>
            <p:cNvSpPr/>
            <p:nvPr/>
          </p:nvSpPr>
          <p:spPr>
            <a:xfrm>
              <a:off x="3309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3" name="Rectangle 244"/>
            <p:cNvSpPr/>
            <p:nvPr/>
          </p:nvSpPr>
          <p:spPr>
            <a:xfrm>
              <a:off x="3310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4" name="Rectangle 245"/>
            <p:cNvSpPr/>
            <p:nvPr/>
          </p:nvSpPr>
          <p:spPr>
            <a:xfrm>
              <a:off x="3311" y="3993"/>
              <a:ext cx="1" cy="5"/>
            </a:xfrm>
            <a:prstGeom prst="rect">
              <a:avLst/>
            </a:prstGeom>
            <a:solidFill>
              <a:srgbClr val="BFBFB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5" name="Rectangle 246"/>
            <p:cNvSpPr/>
            <p:nvPr/>
          </p:nvSpPr>
          <p:spPr>
            <a:xfrm>
              <a:off x="3312" y="3993"/>
              <a:ext cx="1" cy="5"/>
            </a:xfrm>
            <a:prstGeom prst="rect">
              <a:avLst/>
            </a:prstGeom>
            <a:solidFill>
              <a:srgbClr val="BFBFB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6" name="Rectangle 247"/>
            <p:cNvSpPr/>
            <p:nvPr/>
          </p:nvSpPr>
          <p:spPr>
            <a:xfrm>
              <a:off x="3313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7" name="Rectangle 248"/>
            <p:cNvSpPr/>
            <p:nvPr/>
          </p:nvSpPr>
          <p:spPr>
            <a:xfrm>
              <a:off x="3314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8" name="Rectangle 249"/>
            <p:cNvSpPr/>
            <p:nvPr/>
          </p:nvSpPr>
          <p:spPr>
            <a:xfrm>
              <a:off x="3315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49" name="Rectangle 250"/>
            <p:cNvSpPr/>
            <p:nvPr/>
          </p:nvSpPr>
          <p:spPr>
            <a:xfrm>
              <a:off x="3316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0" name="Rectangle 251"/>
            <p:cNvSpPr/>
            <p:nvPr/>
          </p:nvSpPr>
          <p:spPr>
            <a:xfrm>
              <a:off x="3317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1" name="Rectangle 252"/>
            <p:cNvSpPr/>
            <p:nvPr/>
          </p:nvSpPr>
          <p:spPr>
            <a:xfrm>
              <a:off x="3318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2" name="Rectangle 253"/>
            <p:cNvSpPr/>
            <p:nvPr/>
          </p:nvSpPr>
          <p:spPr>
            <a:xfrm>
              <a:off x="3319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3" name="Rectangle 254"/>
            <p:cNvSpPr/>
            <p:nvPr/>
          </p:nvSpPr>
          <p:spPr>
            <a:xfrm>
              <a:off x="3320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4" name="Rectangle 255"/>
            <p:cNvSpPr/>
            <p:nvPr/>
          </p:nvSpPr>
          <p:spPr>
            <a:xfrm>
              <a:off x="3321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5" name="Rectangle 256"/>
            <p:cNvSpPr/>
            <p:nvPr/>
          </p:nvSpPr>
          <p:spPr>
            <a:xfrm>
              <a:off x="3322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6" name="Rectangle 257"/>
            <p:cNvSpPr/>
            <p:nvPr/>
          </p:nvSpPr>
          <p:spPr>
            <a:xfrm>
              <a:off x="3323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7" name="Rectangle 258"/>
            <p:cNvSpPr/>
            <p:nvPr/>
          </p:nvSpPr>
          <p:spPr>
            <a:xfrm>
              <a:off x="3324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8" name="Rectangle 259"/>
            <p:cNvSpPr/>
            <p:nvPr/>
          </p:nvSpPr>
          <p:spPr>
            <a:xfrm>
              <a:off x="3325" y="3993"/>
              <a:ext cx="1" cy="5"/>
            </a:xfrm>
            <a:prstGeom prst="rect">
              <a:avLst/>
            </a:prstGeom>
            <a:solidFill>
              <a:srgbClr val="B9B9B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59" name="Rectangle 260"/>
            <p:cNvSpPr/>
            <p:nvPr/>
          </p:nvSpPr>
          <p:spPr>
            <a:xfrm>
              <a:off x="3326" y="3993"/>
              <a:ext cx="1" cy="5"/>
            </a:xfrm>
            <a:prstGeom prst="rect">
              <a:avLst/>
            </a:prstGeom>
            <a:solidFill>
              <a:srgbClr val="B8B8B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0" name="Rectangle 261"/>
            <p:cNvSpPr/>
            <p:nvPr/>
          </p:nvSpPr>
          <p:spPr>
            <a:xfrm>
              <a:off x="3327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1" name="Rectangle 262"/>
            <p:cNvSpPr/>
            <p:nvPr/>
          </p:nvSpPr>
          <p:spPr>
            <a:xfrm>
              <a:off x="3328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2" name="Rectangle 263"/>
            <p:cNvSpPr/>
            <p:nvPr/>
          </p:nvSpPr>
          <p:spPr>
            <a:xfrm>
              <a:off x="3329" y="3993"/>
              <a:ext cx="1" cy="5"/>
            </a:xfrm>
            <a:prstGeom prst="rect">
              <a:avLst/>
            </a:prstGeom>
            <a:solidFill>
              <a:srgbClr val="B6B6B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3" name="Rectangle 264"/>
            <p:cNvSpPr/>
            <p:nvPr/>
          </p:nvSpPr>
          <p:spPr>
            <a:xfrm>
              <a:off x="3330" y="3993"/>
              <a:ext cx="1" cy="5"/>
            </a:xfrm>
            <a:prstGeom prst="rect">
              <a:avLst/>
            </a:prstGeom>
            <a:solidFill>
              <a:srgbClr val="B5B5B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4" name="Rectangle 265"/>
            <p:cNvSpPr/>
            <p:nvPr/>
          </p:nvSpPr>
          <p:spPr>
            <a:xfrm>
              <a:off x="3331" y="3993"/>
              <a:ext cx="1" cy="5"/>
            </a:xfrm>
            <a:prstGeom prst="rect">
              <a:avLst/>
            </a:prstGeom>
            <a:solidFill>
              <a:srgbClr val="B4B4B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5" name="Rectangle 266"/>
            <p:cNvSpPr/>
            <p:nvPr/>
          </p:nvSpPr>
          <p:spPr>
            <a:xfrm>
              <a:off x="3332" y="3993"/>
              <a:ext cx="1" cy="5"/>
            </a:xfrm>
            <a:prstGeom prst="rect">
              <a:avLst/>
            </a:prstGeom>
            <a:solidFill>
              <a:srgbClr val="B3B3B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6" name="Rectangle 267"/>
            <p:cNvSpPr/>
            <p:nvPr/>
          </p:nvSpPr>
          <p:spPr>
            <a:xfrm>
              <a:off x="3333" y="3993"/>
              <a:ext cx="1" cy="5"/>
            </a:xfrm>
            <a:prstGeom prst="rect">
              <a:avLst/>
            </a:prstGeom>
            <a:solidFill>
              <a:srgbClr val="B2B2B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7" name="Rectangle 268"/>
            <p:cNvSpPr/>
            <p:nvPr/>
          </p:nvSpPr>
          <p:spPr>
            <a:xfrm>
              <a:off x="3334" y="3993"/>
              <a:ext cx="1" cy="5"/>
            </a:xfrm>
            <a:prstGeom prst="rect">
              <a:avLst/>
            </a:prstGeom>
            <a:solidFill>
              <a:srgbClr val="B1B1B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8" name="Rectangle 269"/>
            <p:cNvSpPr/>
            <p:nvPr/>
          </p:nvSpPr>
          <p:spPr>
            <a:xfrm>
              <a:off x="3335" y="3993"/>
              <a:ext cx="1" cy="5"/>
            </a:xfrm>
            <a:prstGeom prst="rect">
              <a:avLst/>
            </a:prstGeom>
            <a:solidFill>
              <a:srgbClr val="AFAFA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69" name="Rectangle 270"/>
            <p:cNvSpPr/>
            <p:nvPr/>
          </p:nvSpPr>
          <p:spPr>
            <a:xfrm>
              <a:off x="3336" y="3993"/>
              <a:ext cx="1" cy="5"/>
            </a:xfrm>
            <a:prstGeom prst="rect">
              <a:avLst/>
            </a:prstGeom>
            <a:solidFill>
              <a:srgbClr val="AEAEA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0" name="Rectangle 271"/>
            <p:cNvSpPr/>
            <p:nvPr/>
          </p:nvSpPr>
          <p:spPr>
            <a:xfrm>
              <a:off x="3337" y="3993"/>
              <a:ext cx="1" cy="5"/>
            </a:xfrm>
            <a:prstGeom prst="rect">
              <a:avLst/>
            </a:prstGeom>
            <a:solidFill>
              <a:srgbClr val="ADADA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1" name="Rectangle 272"/>
            <p:cNvSpPr/>
            <p:nvPr/>
          </p:nvSpPr>
          <p:spPr>
            <a:xfrm>
              <a:off x="3338" y="3993"/>
              <a:ext cx="1" cy="5"/>
            </a:xfrm>
            <a:prstGeom prst="rect">
              <a:avLst/>
            </a:prstGeom>
            <a:solidFill>
              <a:srgbClr val="ACACA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2" name="Rectangle 273"/>
            <p:cNvSpPr/>
            <p:nvPr/>
          </p:nvSpPr>
          <p:spPr>
            <a:xfrm>
              <a:off x="3339" y="3993"/>
              <a:ext cx="1" cy="5"/>
            </a:xfrm>
            <a:prstGeom prst="rect">
              <a:avLst/>
            </a:prstGeom>
            <a:solidFill>
              <a:srgbClr val="AAAAA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3" name="Rectangle 274"/>
            <p:cNvSpPr/>
            <p:nvPr/>
          </p:nvSpPr>
          <p:spPr>
            <a:xfrm>
              <a:off x="3340" y="3993"/>
              <a:ext cx="1" cy="5"/>
            </a:xfrm>
            <a:prstGeom prst="rect">
              <a:avLst/>
            </a:prstGeom>
            <a:solidFill>
              <a:srgbClr val="A8A8A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4" name="Rectangle 275"/>
            <p:cNvSpPr/>
            <p:nvPr/>
          </p:nvSpPr>
          <p:spPr>
            <a:xfrm>
              <a:off x="3341" y="3993"/>
              <a:ext cx="1" cy="5"/>
            </a:xfrm>
            <a:prstGeom prst="rect">
              <a:avLst/>
            </a:prstGeom>
            <a:solidFill>
              <a:srgbClr val="A7A7A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5" name="Rectangle 276"/>
            <p:cNvSpPr/>
            <p:nvPr/>
          </p:nvSpPr>
          <p:spPr>
            <a:xfrm>
              <a:off x="3342" y="3993"/>
              <a:ext cx="1" cy="5"/>
            </a:xfrm>
            <a:prstGeom prst="rect">
              <a:avLst/>
            </a:prstGeom>
            <a:solidFill>
              <a:srgbClr val="A5A5A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6" name="Rectangle 277"/>
            <p:cNvSpPr/>
            <p:nvPr/>
          </p:nvSpPr>
          <p:spPr>
            <a:xfrm>
              <a:off x="3343" y="3993"/>
              <a:ext cx="1" cy="5"/>
            </a:xfrm>
            <a:prstGeom prst="rect">
              <a:avLst/>
            </a:prstGeom>
            <a:solidFill>
              <a:srgbClr val="A3A3A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7" name="Rectangle 278"/>
            <p:cNvSpPr/>
            <p:nvPr/>
          </p:nvSpPr>
          <p:spPr>
            <a:xfrm>
              <a:off x="3344" y="3993"/>
              <a:ext cx="1" cy="5"/>
            </a:xfrm>
            <a:prstGeom prst="rect">
              <a:avLst/>
            </a:prstGeom>
            <a:solidFill>
              <a:srgbClr val="A2A2A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8" name="Rectangle 279"/>
            <p:cNvSpPr/>
            <p:nvPr/>
          </p:nvSpPr>
          <p:spPr>
            <a:xfrm>
              <a:off x="3345" y="3993"/>
              <a:ext cx="1" cy="5"/>
            </a:xfrm>
            <a:prstGeom prst="rect">
              <a:avLst/>
            </a:prstGeom>
            <a:solidFill>
              <a:srgbClr val="A0A0A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79" name="Rectangle 280"/>
            <p:cNvSpPr/>
            <p:nvPr/>
          </p:nvSpPr>
          <p:spPr>
            <a:xfrm>
              <a:off x="3346" y="3993"/>
              <a:ext cx="1" cy="5"/>
            </a:xfrm>
            <a:prstGeom prst="rect">
              <a:avLst/>
            </a:prstGeom>
            <a:solidFill>
              <a:srgbClr val="9E9E9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0" name="Rectangle 281"/>
            <p:cNvSpPr/>
            <p:nvPr/>
          </p:nvSpPr>
          <p:spPr>
            <a:xfrm>
              <a:off x="3347" y="3993"/>
              <a:ext cx="1" cy="5"/>
            </a:xfrm>
            <a:prstGeom prst="rect">
              <a:avLst/>
            </a:prstGeom>
            <a:solidFill>
              <a:srgbClr val="9C9C9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1" name="Rectangle 282"/>
            <p:cNvSpPr/>
            <p:nvPr/>
          </p:nvSpPr>
          <p:spPr>
            <a:xfrm>
              <a:off x="3348" y="3993"/>
              <a:ext cx="1" cy="5"/>
            </a:xfrm>
            <a:prstGeom prst="rect">
              <a:avLst/>
            </a:prstGeom>
            <a:solidFill>
              <a:srgbClr val="9A9A9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2" name="Rectangle 283"/>
            <p:cNvSpPr/>
            <p:nvPr/>
          </p:nvSpPr>
          <p:spPr>
            <a:xfrm>
              <a:off x="3349" y="3993"/>
              <a:ext cx="1" cy="5"/>
            </a:xfrm>
            <a:prstGeom prst="rect">
              <a:avLst/>
            </a:prstGeom>
            <a:solidFill>
              <a:srgbClr val="99999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3" name="Rectangle 284"/>
            <p:cNvSpPr/>
            <p:nvPr/>
          </p:nvSpPr>
          <p:spPr>
            <a:xfrm>
              <a:off x="3350" y="3993"/>
              <a:ext cx="1" cy="5"/>
            </a:xfrm>
            <a:prstGeom prst="rect">
              <a:avLst/>
            </a:prstGeom>
            <a:solidFill>
              <a:srgbClr val="97979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4" name="Rectangle 285"/>
            <p:cNvSpPr/>
            <p:nvPr/>
          </p:nvSpPr>
          <p:spPr>
            <a:xfrm>
              <a:off x="3351" y="3993"/>
              <a:ext cx="1" cy="5"/>
            </a:xfrm>
            <a:prstGeom prst="rect">
              <a:avLst/>
            </a:prstGeom>
            <a:solidFill>
              <a:srgbClr val="94949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5" name="Rectangle 286"/>
            <p:cNvSpPr/>
            <p:nvPr/>
          </p:nvSpPr>
          <p:spPr>
            <a:xfrm>
              <a:off x="3352" y="3993"/>
              <a:ext cx="1" cy="5"/>
            </a:xfrm>
            <a:prstGeom prst="rect">
              <a:avLst/>
            </a:prstGeom>
            <a:solidFill>
              <a:srgbClr val="92929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6" name="Rectangle 287"/>
            <p:cNvSpPr/>
            <p:nvPr/>
          </p:nvSpPr>
          <p:spPr>
            <a:xfrm>
              <a:off x="3353" y="3993"/>
              <a:ext cx="1" cy="5"/>
            </a:xfrm>
            <a:prstGeom prst="rect">
              <a:avLst/>
            </a:prstGeom>
            <a:solidFill>
              <a:srgbClr val="90909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7" name="Rectangle 288"/>
            <p:cNvSpPr/>
            <p:nvPr/>
          </p:nvSpPr>
          <p:spPr>
            <a:xfrm>
              <a:off x="3354" y="3993"/>
              <a:ext cx="1" cy="5"/>
            </a:xfrm>
            <a:prstGeom prst="rect">
              <a:avLst/>
            </a:prstGeom>
            <a:solidFill>
              <a:srgbClr val="8E8E8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8" name="Rectangle 289"/>
            <p:cNvSpPr/>
            <p:nvPr/>
          </p:nvSpPr>
          <p:spPr>
            <a:xfrm>
              <a:off x="3355" y="3993"/>
              <a:ext cx="1" cy="5"/>
            </a:xfrm>
            <a:prstGeom prst="rect">
              <a:avLst/>
            </a:prstGeom>
            <a:solidFill>
              <a:srgbClr val="8C8C8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89" name="Rectangle 290"/>
            <p:cNvSpPr/>
            <p:nvPr/>
          </p:nvSpPr>
          <p:spPr>
            <a:xfrm>
              <a:off x="3356" y="3993"/>
              <a:ext cx="1" cy="5"/>
            </a:xfrm>
            <a:prstGeom prst="rect">
              <a:avLst/>
            </a:prstGeom>
            <a:solidFill>
              <a:srgbClr val="8A8A8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0" name="Rectangle 291"/>
            <p:cNvSpPr/>
            <p:nvPr/>
          </p:nvSpPr>
          <p:spPr>
            <a:xfrm>
              <a:off x="3357" y="3993"/>
              <a:ext cx="1" cy="5"/>
            </a:xfrm>
            <a:prstGeom prst="rect">
              <a:avLst/>
            </a:prstGeom>
            <a:solidFill>
              <a:srgbClr val="88888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1" name="Rectangle 292"/>
            <p:cNvSpPr/>
            <p:nvPr/>
          </p:nvSpPr>
          <p:spPr>
            <a:xfrm>
              <a:off x="3358" y="3993"/>
              <a:ext cx="1" cy="5"/>
            </a:xfrm>
            <a:prstGeom prst="rect">
              <a:avLst/>
            </a:prstGeom>
            <a:solidFill>
              <a:srgbClr val="86868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2" name="Rectangle 293"/>
            <p:cNvSpPr/>
            <p:nvPr/>
          </p:nvSpPr>
          <p:spPr>
            <a:xfrm>
              <a:off x="3359" y="3993"/>
              <a:ext cx="1" cy="5"/>
            </a:xfrm>
            <a:prstGeom prst="rect">
              <a:avLst/>
            </a:prstGeom>
            <a:solidFill>
              <a:srgbClr val="84848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3" name="Rectangle 294"/>
            <p:cNvSpPr/>
            <p:nvPr/>
          </p:nvSpPr>
          <p:spPr>
            <a:xfrm>
              <a:off x="3360" y="3993"/>
              <a:ext cx="1" cy="5"/>
            </a:xfrm>
            <a:prstGeom prst="rect">
              <a:avLst/>
            </a:prstGeom>
            <a:solidFill>
              <a:srgbClr val="81818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4" name="Rectangle 295"/>
            <p:cNvSpPr/>
            <p:nvPr/>
          </p:nvSpPr>
          <p:spPr>
            <a:xfrm>
              <a:off x="3361" y="3993"/>
              <a:ext cx="1" cy="5"/>
            </a:xfrm>
            <a:prstGeom prst="rect">
              <a:avLst/>
            </a:prstGeom>
            <a:solidFill>
              <a:srgbClr val="7F7F7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5" name="Rectangle 296"/>
            <p:cNvSpPr/>
            <p:nvPr/>
          </p:nvSpPr>
          <p:spPr>
            <a:xfrm>
              <a:off x="3362" y="3993"/>
              <a:ext cx="1" cy="5"/>
            </a:xfrm>
            <a:prstGeom prst="rect">
              <a:avLst/>
            </a:prstGeom>
            <a:solidFill>
              <a:srgbClr val="7E7E7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6" name="Rectangle 297"/>
            <p:cNvSpPr/>
            <p:nvPr/>
          </p:nvSpPr>
          <p:spPr>
            <a:xfrm>
              <a:off x="3363" y="3993"/>
              <a:ext cx="1" cy="5"/>
            </a:xfrm>
            <a:prstGeom prst="rect">
              <a:avLst/>
            </a:prstGeom>
            <a:solidFill>
              <a:srgbClr val="7C7C7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7" name="Rectangle 298"/>
            <p:cNvSpPr/>
            <p:nvPr/>
          </p:nvSpPr>
          <p:spPr>
            <a:xfrm>
              <a:off x="3364" y="3993"/>
              <a:ext cx="1" cy="5"/>
            </a:xfrm>
            <a:prstGeom prst="rect">
              <a:avLst/>
            </a:prstGeom>
            <a:solidFill>
              <a:srgbClr val="79797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8" name="Rectangle 299"/>
            <p:cNvSpPr/>
            <p:nvPr/>
          </p:nvSpPr>
          <p:spPr>
            <a:xfrm>
              <a:off x="3365" y="3993"/>
              <a:ext cx="1" cy="5"/>
            </a:xfrm>
            <a:prstGeom prst="rect">
              <a:avLst/>
            </a:prstGeom>
            <a:solidFill>
              <a:srgbClr val="77777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99" name="Rectangle 300"/>
            <p:cNvSpPr/>
            <p:nvPr/>
          </p:nvSpPr>
          <p:spPr>
            <a:xfrm>
              <a:off x="3366" y="3993"/>
              <a:ext cx="1" cy="5"/>
            </a:xfrm>
            <a:prstGeom prst="rect">
              <a:avLst/>
            </a:prstGeom>
            <a:solidFill>
              <a:srgbClr val="76767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0" name="Rectangle 301"/>
            <p:cNvSpPr/>
            <p:nvPr/>
          </p:nvSpPr>
          <p:spPr>
            <a:xfrm>
              <a:off x="3367" y="3993"/>
              <a:ext cx="1" cy="5"/>
            </a:xfrm>
            <a:prstGeom prst="rect">
              <a:avLst/>
            </a:prstGeom>
            <a:solidFill>
              <a:srgbClr val="74747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1" name="Rectangle 302"/>
            <p:cNvSpPr/>
            <p:nvPr/>
          </p:nvSpPr>
          <p:spPr>
            <a:xfrm>
              <a:off x="3368" y="3993"/>
              <a:ext cx="1" cy="5"/>
            </a:xfrm>
            <a:prstGeom prst="rect">
              <a:avLst/>
            </a:prstGeom>
            <a:solidFill>
              <a:srgbClr val="71717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2" name="Rectangle 303"/>
            <p:cNvSpPr/>
            <p:nvPr/>
          </p:nvSpPr>
          <p:spPr>
            <a:xfrm>
              <a:off x="3369" y="3993"/>
              <a:ext cx="1" cy="5"/>
            </a:xfrm>
            <a:prstGeom prst="rect">
              <a:avLst/>
            </a:prstGeom>
            <a:solidFill>
              <a:srgbClr val="70707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3" name="Rectangle 304"/>
            <p:cNvSpPr/>
            <p:nvPr/>
          </p:nvSpPr>
          <p:spPr>
            <a:xfrm>
              <a:off x="3370" y="3993"/>
              <a:ext cx="1" cy="5"/>
            </a:xfrm>
            <a:prstGeom prst="rect">
              <a:avLst/>
            </a:prstGeom>
            <a:solidFill>
              <a:srgbClr val="6E6E6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4" name="Rectangle 305"/>
            <p:cNvSpPr/>
            <p:nvPr/>
          </p:nvSpPr>
          <p:spPr>
            <a:xfrm>
              <a:off x="3371" y="3993"/>
              <a:ext cx="1" cy="5"/>
            </a:xfrm>
            <a:prstGeom prst="rect">
              <a:avLst/>
            </a:prstGeom>
            <a:solidFill>
              <a:srgbClr val="6D6D6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5" name="Rectangle 306"/>
            <p:cNvSpPr/>
            <p:nvPr/>
          </p:nvSpPr>
          <p:spPr>
            <a:xfrm>
              <a:off x="3372" y="3993"/>
              <a:ext cx="1" cy="5"/>
            </a:xfrm>
            <a:prstGeom prst="rect">
              <a:avLst/>
            </a:prstGeom>
            <a:solidFill>
              <a:srgbClr val="6B6B6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6" name="Rectangle 307"/>
            <p:cNvSpPr/>
            <p:nvPr/>
          </p:nvSpPr>
          <p:spPr>
            <a:xfrm>
              <a:off x="3373" y="3993"/>
              <a:ext cx="1" cy="5"/>
            </a:xfrm>
            <a:prstGeom prst="rect">
              <a:avLst/>
            </a:prstGeom>
            <a:solidFill>
              <a:srgbClr val="69696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7" name="Rectangle 308"/>
            <p:cNvSpPr/>
            <p:nvPr/>
          </p:nvSpPr>
          <p:spPr>
            <a:xfrm>
              <a:off x="3374" y="3993"/>
              <a:ext cx="1" cy="5"/>
            </a:xfrm>
            <a:prstGeom prst="rect">
              <a:avLst/>
            </a:prstGeom>
            <a:solidFill>
              <a:srgbClr val="68686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8" name="Rectangle 309"/>
            <p:cNvSpPr/>
            <p:nvPr/>
          </p:nvSpPr>
          <p:spPr>
            <a:xfrm>
              <a:off x="3375" y="3993"/>
              <a:ext cx="1" cy="5"/>
            </a:xfrm>
            <a:prstGeom prst="rect">
              <a:avLst/>
            </a:prstGeom>
            <a:solidFill>
              <a:srgbClr val="66666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09" name="Rectangle 310"/>
            <p:cNvSpPr/>
            <p:nvPr/>
          </p:nvSpPr>
          <p:spPr>
            <a:xfrm>
              <a:off x="3376" y="3993"/>
              <a:ext cx="1" cy="5"/>
            </a:xfrm>
            <a:prstGeom prst="rect">
              <a:avLst/>
            </a:prstGeom>
            <a:solidFill>
              <a:srgbClr val="65656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0" name="Rectangle 311"/>
            <p:cNvSpPr/>
            <p:nvPr/>
          </p:nvSpPr>
          <p:spPr>
            <a:xfrm>
              <a:off x="3377" y="3993"/>
              <a:ext cx="1" cy="5"/>
            </a:xfrm>
            <a:prstGeom prst="rect">
              <a:avLst/>
            </a:prstGeom>
            <a:solidFill>
              <a:srgbClr val="64646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1" name="Rectangle 312"/>
            <p:cNvSpPr/>
            <p:nvPr/>
          </p:nvSpPr>
          <p:spPr>
            <a:xfrm>
              <a:off x="3378" y="3993"/>
              <a:ext cx="1" cy="5"/>
            </a:xfrm>
            <a:prstGeom prst="rect">
              <a:avLst/>
            </a:prstGeom>
            <a:solidFill>
              <a:srgbClr val="62626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2" name="Rectangle 313"/>
            <p:cNvSpPr/>
            <p:nvPr/>
          </p:nvSpPr>
          <p:spPr>
            <a:xfrm>
              <a:off x="3379" y="3993"/>
              <a:ext cx="1" cy="5"/>
            </a:xfrm>
            <a:prstGeom prst="rect">
              <a:avLst/>
            </a:prstGeom>
            <a:solidFill>
              <a:srgbClr val="61616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3" name="Rectangle 314"/>
            <p:cNvSpPr/>
            <p:nvPr/>
          </p:nvSpPr>
          <p:spPr>
            <a:xfrm>
              <a:off x="3380" y="3993"/>
              <a:ext cx="1" cy="5"/>
            </a:xfrm>
            <a:prstGeom prst="rect">
              <a:avLst/>
            </a:prstGeom>
            <a:solidFill>
              <a:srgbClr val="60606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4" name="Rectangle 315"/>
            <p:cNvSpPr/>
            <p:nvPr/>
          </p:nvSpPr>
          <p:spPr>
            <a:xfrm>
              <a:off x="3381" y="3993"/>
              <a:ext cx="1" cy="5"/>
            </a:xfrm>
            <a:prstGeom prst="rect">
              <a:avLst/>
            </a:prstGeom>
            <a:solidFill>
              <a:srgbClr val="5F5F5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5" name="Rectangle 316"/>
            <p:cNvSpPr/>
            <p:nvPr/>
          </p:nvSpPr>
          <p:spPr>
            <a:xfrm>
              <a:off x="3382" y="3993"/>
              <a:ext cx="1" cy="5"/>
            </a:xfrm>
            <a:prstGeom prst="rect">
              <a:avLst/>
            </a:prstGeom>
            <a:solidFill>
              <a:srgbClr val="5E5E5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6" name="Rectangle 317"/>
            <p:cNvSpPr/>
            <p:nvPr/>
          </p:nvSpPr>
          <p:spPr>
            <a:xfrm>
              <a:off x="3383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7" name="Rectangle 318"/>
            <p:cNvSpPr/>
            <p:nvPr/>
          </p:nvSpPr>
          <p:spPr>
            <a:xfrm>
              <a:off x="3384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8" name="Rectangle 319"/>
            <p:cNvSpPr/>
            <p:nvPr/>
          </p:nvSpPr>
          <p:spPr>
            <a:xfrm>
              <a:off x="3385" y="3993"/>
              <a:ext cx="1" cy="5"/>
            </a:xfrm>
            <a:prstGeom prst="rect">
              <a:avLst/>
            </a:prstGeom>
            <a:solidFill>
              <a:srgbClr val="5C5C5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19" name="Rectangle 320"/>
            <p:cNvSpPr/>
            <p:nvPr/>
          </p:nvSpPr>
          <p:spPr>
            <a:xfrm>
              <a:off x="3386" y="3993"/>
              <a:ext cx="1" cy="5"/>
            </a:xfrm>
            <a:prstGeom prst="rect">
              <a:avLst/>
            </a:prstGeom>
            <a:solidFill>
              <a:srgbClr val="5B5B5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20" name="Rectangle 321"/>
            <p:cNvSpPr/>
            <p:nvPr/>
          </p:nvSpPr>
          <p:spPr>
            <a:xfrm>
              <a:off x="3387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21" name="Rectangle 322"/>
            <p:cNvSpPr/>
            <p:nvPr/>
          </p:nvSpPr>
          <p:spPr>
            <a:xfrm>
              <a:off x="3388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22" name="Rectangle 323"/>
            <p:cNvSpPr/>
            <p:nvPr/>
          </p:nvSpPr>
          <p:spPr>
            <a:xfrm>
              <a:off x="3389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23" name="Rectangle 324"/>
            <p:cNvSpPr/>
            <p:nvPr/>
          </p:nvSpPr>
          <p:spPr>
            <a:xfrm>
              <a:off x="3390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8440" name="AutoShape 325" descr="市松模様 (小)"/>
          <p:cNvSpPr/>
          <p:nvPr/>
        </p:nvSpPr>
        <p:spPr>
          <a:xfrm>
            <a:off x="5035550" y="1371600"/>
            <a:ext cx="495300" cy="762000"/>
          </a:xfrm>
          <a:prstGeom prst="triangle">
            <a:avLst>
              <a:gd name="adj" fmla="val 50000"/>
            </a:avLst>
          </a:prstGeom>
          <a:pattFill prst="smCheck">
            <a:fgClr>
              <a:srgbClr val="FF9933"/>
            </a:fgClr>
            <a:bgClr>
              <a:srgbClr val="FFFFFF"/>
            </a:bgClr>
          </a:pattFill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1" hangingPunct="1"/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41" name="Text Box 326"/>
          <p:cNvSpPr txBox="1"/>
          <p:nvPr/>
        </p:nvSpPr>
        <p:spPr>
          <a:xfrm>
            <a:off x="5613400" y="1143000"/>
            <a:ext cx="1851025" cy="935038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lnSpc>
                <a:spcPct val="40000"/>
              </a:lnSpc>
              <a:spcBef>
                <a:spcPct val="50000"/>
              </a:spcBef>
            </a:pPr>
            <a:endParaRPr lang="ja-JP" altLang="en-US" sz="2000" b="1" dirty="0">
              <a:solidFill>
                <a:srgbClr val="6600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>
              <a:lnSpc>
                <a:spcPct val="40000"/>
              </a:lnSpc>
              <a:spcBef>
                <a:spcPct val="50000"/>
              </a:spcBef>
            </a:pPr>
            <a:r>
              <a:rPr lang="zh-CN" altLang="en-US" sz="2000" b="1" dirty="0">
                <a:solidFill>
                  <a:srgbClr val="66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经理</a:t>
            </a:r>
            <a:endParaRPr lang="ja-JP" altLang="en-US" sz="2000" b="1" dirty="0">
              <a:solidFill>
                <a:srgbClr val="6600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>
              <a:lnSpc>
                <a:spcPct val="40000"/>
              </a:lnSpc>
              <a:spcBef>
                <a:spcPct val="50000"/>
              </a:spcBef>
            </a:pPr>
            <a:r>
              <a:rPr lang="zh-CN" altLang="en-US" sz="2000" b="1" dirty="0">
                <a:solidFill>
                  <a:srgbClr val="66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副总经理</a:t>
            </a:r>
            <a:endParaRPr lang="zh-CN" altLang="en-US" sz="2000" b="1" dirty="0">
              <a:solidFill>
                <a:srgbClr val="6600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42" name="Text Box 327"/>
          <p:cNvSpPr txBox="1"/>
          <p:nvPr/>
        </p:nvSpPr>
        <p:spPr>
          <a:xfrm>
            <a:off x="5943600" y="2590800"/>
            <a:ext cx="1651000" cy="3841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ja-JP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solidFill>
                  <a:srgbClr val="66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长</a:t>
            </a:r>
            <a:r>
              <a:rPr lang="ja-JP" altLang="en-US" b="1" dirty="0">
                <a:solidFill>
                  <a:srgbClr val="66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･</a:t>
            </a:r>
            <a:r>
              <a:rPr lang="zh-CN" altLang="en-US" b="1" dirty="0">
                <a:solidFill>
                  <a:srgbClr val="66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副科长</a:t>
            </a:r>
            <a:endParaRPr lang="ja-JP" altLang="en-US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43" name="Text Box 328"/>
          <p:cNvSpPr txBox="1"/>
          <p:nvPr/>
        </p:nvSpPr>
        <p:spPr>
          <a:xfrm>
            <a:off x="6108700" y="3048000"/>
            <a:ext cx="1733550" cy="3841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b="1" dirty="0">
                <a:solidFill>
                  <a:srgbClr val="66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业长</a:t>
            </a:r>
            <a:r>
              <a:rPr lang="ja-JP" altLang="en-US" b="1" dirty="0">
                <a:solidFill>
                  <a:srgbClr val="66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・</a:t>
            </a:r>
            <a:r>
              <a:rPr lang="zh-CN" altLang="en-US" b="1" dirty="0">
                <a:solidFill>
                  <a:srgbClr val="66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长</a:t>
            </a:r>
            <a:endParaRPr lang="ja-JP" altLang="en-US" b="1" dirty="0">
              <a:solidFill>
                <a:srgbClr val="6666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44" name="Text Box 329"/>
          <p:cNvSpPr txBox="1"/>
          <p:nvPr/>
        </p:nvSpPr>
        <p:spPr>
          <a:xfrm>
            <a:off x="6273800" y="3581400"/>
            <a:ext cx="1733550" cy="3841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b="1" dirty="0">
                <a:solidFill>
                  <a:srgbClr val="669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统括班长</a:t>
            </a:r>
            <a:endParaRPr lang="zh-CN" altLang="en-US" b="1" dirty="0">
              <a:solidFill>
                <a:srgbClr val="6699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45" name="Text Box 330"/>
          <p:cNvSpPr txBox="1"/>
          <p:nvPr/>
        </p:nvSpPr>
        <p:spPr>
          <a:xfrm>
            <a:off x="6438900" y="4114800"/>
            <a:ext cx="1549400" cy="3841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班长·组长</a:t>
            </a:r>
            <a:endParaRPr lang="zh-CN" altLang="en-US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46" name="Line 331"/>
          <p:cNvSpPr/>
          <p:nvPr/>
        </p:nvSpPr>
        <p:spPr>
          <a:xfrm>
            <a:off x="4581525" y="3429000"/>
            <a:ext cx="1403350" cy="0"/>
          </a:xfrm>
          <a:prstGeom prst="line">
            <a:avLst/>
          </a:prstGeom>
          <a:ln w="41275" cap="flat" cmpd="sng">
            <a:solidFill>
              <a:schemeClr val="tx1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8447" name="Line 332"/>
          <p:cNvSpPr/>
          <p:nvPr/>
        </p:nvSpPr>
        <p:spPr>
          <a:xfrm>
            <a:off x="4375150" y="4038600"/>
            <a:ext cx="1816100" cy="0"/>
          </a:xfrm>
          <a:prstGeom prst="line">
            <a:avLst/>
          </a:prstGeom>
          <a:ln w="41275" cap="flat" cmpd="sng">
            <a:solidFill>
              <a:schemeClr val="tx1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8448" name="Rectangle 333" descr="市松模様 (小)"/>
          <p:cNvSpPr/>
          <p:nvPr/>
        </p:nvSpPr>
        <p:spPr>
          <a:xfrm>
            <a:off x="7924800" y="2811463"/>
            <a:ext cx="577850" cy="295275"/>
          </a:xfrm>
          <a:prstGeom prst="rect">
            <a:avLst/>
          </a:prstGeom>
          <a:pattFill prst="smCheck">
            <a:fgClr>
              <a:srgbClr val="FF9900"/>
            </a:fgClr>
            <a:bgClr>
              <a:srgbClr val="FFFFFF"/>
            </a:bgClr>
          </a:pattFill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1" hangingPunct="1"/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49" name="Text Box 334"/>
          <p:cNvSpPr txBox="1"/>
          <p:nvPr/>
        </p:nvSpPr>
        <p:spPr>
          <a:xfrm>
            <a:off x="8585200" y="2771775"/>
            <a:ext cx="990600" cy="352425"/>
          </a:xfrm>
          <a:prstGeom prst="rect">
            <a:avLst/>
          </a:prstGeom>
          <a:noFill/>
          <a:ln w="9525">
            <a:noFill/>
          </a:ln>
        </p:spPr>
        <p:txBody>
          <a:bodyPr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赴任者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50" name="Line 335"/>
          <p:cNvSpPr/>
          <p:nvPr/>
        </p:nvSpPr>
        <p:spPr>
          <a:xfrm>
            <a:off x="2393950" y="5638800"/>
            <a:ext cx="5778500" cy="0"/>
          </a:xfrm>
          <a:prstGeom prst="line">
            <a:avLst/>
          </a:prstGeom>
          <a:ln w="44450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8451" name="Text Box 336"/>
          <p:cNvSpPr txBox="1"/>
          <p:nvPr/>
        </p:nvSpPr>
        <p:spPr>
          <a:xfrm>
            <a:off x="3467100" y="1447800"/>
            <a:ext cx="1641475" cy="417513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 eaLnBrk="1" hangingPunct="1">
              <a:spcBef>
                <a:spcPct val="50000"/>
              </a:spcBef>
            </a:pPr>
            <a:r>
              <a:rPr lang="zh-CN" altLang="en-US" sz="2000" b="1" dirty="0">
                <a:solidFill>
                  <a:srgbClr val="66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营层</a:t>
            </a:r>
            <a:endParaRPr lang="zh-CN" altLang="en-US" sz="2000" b="1" dirty="0">
              <a:solidFill>
                <a:srgbClr val="6600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52" name="Text Box 337"/>
          <p:cNvSpPr txBox="1"/>
          <p:nvPr/>
        </p:nvSpPr>
        <p:spPr>
          <a:xfrm>
            <a:off x="3654425" y="2100263"/>
            <a:ext cx="1277938" cy="417512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2000" b="1" dirty="0">
                <a:solidFill>
                  <a:srgbClr val="66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层</a:t>
            </a:r>
            <a:endParaRPr lang="zh-CN" altLang="en-US" sz="2000" b="1" dirty="0">
              <a:solidFill>
                <a:srgbClr val="66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53" name="Text Box 338"/>
          <p:cNvSpPr txBox="1"/>
          <p:nvPr/>
        </p:nvSpPr>
        <p:spPr>
          <a:xfrm>
            <a:off x="5861050" y="4876800"/>
            <a:ext cx="2063750" cy="6032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般办公人员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>
              <a:lnSpc>
                <a:spcPct val="30000"/>
              </a:lnSpc>
              <a:spcBef>
                <a:spcPct val="50000"/>
              </a:spcBef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线工人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454" name="Group 339"/>
          <p:cNvGrpSpPr/>
          <p:nvPr/>
        </p:nvGrpSpPr>
        <p:grpSpPr>
          <a:xfrm>
            <a:off x="2393950" y="4724400"/>
            <a:ext cx="5710238" cy="879475"/>
            <a:chOff x="912" y="2644"/>
            <a:chExt cx="3368" cy="572"/>
          </a:xfrm>
        </p:grpSpPr>
        <p:sp>
          <p:nvSpPr>
            <p:cNvPr id="18463" name="Line 340"/>
            <p:cNvSpPr/>
            <p:nvPr/>
          </p:nvSpPr>
          <p:spPr>
            <a:xfrm flipH="1">
              <a:off x="912" y="2644"/>
              <a:ext cx="296" cy="572"/>
            </a:xfrm>
            <a:prstGeom prst="line">
              <a:avLst/>
            </a:prstGeom>
            <a:ln w="41275" cap="flat" cmpd="sng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18464" name="Line 341"/>
            <p:cNvSpPr/>
            <p:nvPr/>
          </p:nvSpPr>
          <p:spPr>
            <a:xfrm>
              <a:off x="1208" y="2644"/>
              <a:ext cx="2788" cy="1"/>
            </a:xfrm>
            <a:prstGeom prst="line">
              <a:avLst/>
            </a:prstGeom>
            <a:ln w="41275" cap="flat" cmpd="sng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18465" name="Line 342"/>
            <p:cNvSpPr/>
            <p:nvPr/>
          </p:nvSpPr>
          <p:spPr>
            <a:xfrm>
              <a:off x="3984" y="2644"/>
              <a:ext cx="296" cy="572"/>
            </a:xfrm>
            <a:prstGeom prst="line">
              <a:avLst/>
            </a:prstGeom>
            <a:ln w="41275" cap="flat" cmpd="sng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</p:sp>
      </p:grpSp>
      <p:grpSp>
        <p:nvGrpSpPr>
          <p:cNvPr id="18455" name="Group 343"/>
          <p:cNvGrpSpPr/>
          <p:nvPr/>
        </p:nvGrpSpPr>
        <p:grpSpPr>
          <a:xfrm>
            <a:off x="3217863" y="2900363"/>
            <a:ext cx="723900" cy="1808162"/>
            <a:chOff x="1691" y="1151"/>
            <a:chExt cx="421" cy="1176"/>
          </a:xfrm>
        </p:grpSpPr>
        <p:sp>
          <p:nvSpPr>
            <p:cNvPr id="18461" name="Text Box 344"/>
            <p:cNvSpPr txBox="1"/>
            <p:nvPr/>
          </p:nvSpPr>
          <p:spPr>
            <a:xfrm>
              <a:off x="1691" y="1151"/>
              <a:ext cx="277" cy="1176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eaVert">
              <a:spAutoFit/>
            </a:bodyPr>
            <a:lstStyle/>
            <a:p>
              <a:pPr lvl="0" eaLnBrk="1" hangingPunct="1">
                <a:spcBef>
                  <a:spcPct val="50000"/>
                </a:spcBef>
              </a:pPr>
              <a:r>
                <a:rPr lang="zh-CN" altLang="en-US" b="1" dirty="0">
                  <a:solidFill>
                    <a:srgbClr val="FF66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间管理监督者</a:t>
              </a:r>
              <a:endParaRPr lang="zh-CN" altLang="en-US" b="1" dirty="0">
                <a:solidFill>
                  <a:srgbClr val="FF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62" name="AutoShape 345"/>
            <p:cNvSpPr/>
            <p:nvPr/>
          </p:nvSpPr>
          <p:spPr>
            <a:xfrm>
              <a:off x="2016" y="1296"/>
              <a:ext cx="96" cy="864"/>
            </a:xfrm>
            <a:prstGeom prst="leftBrace">
              <a:avLst>
                <a:gd name="adj1" fmla="val 75000"/>
                <a:gd name="adj2" fmla="val 53056"/>
              </a:avLst>
            </a:prstGeom>
            <a:noFill/>
            <a:ln w="25400" cap="flat" cmpd="sng">
              <a:solidFill>
                <a:srgbClr val="FF6600"/>
              </a:solidFill>
              <a:prstDash val="solid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lvl="0" algn="ctr" eaLnBrk="1" hangingPunct="1"/>
              <a:endParaRPr lang="zh-CN" altLang="en-US" sz="2400" b="1" dirty="0">
                <a:solidFill>
                  <a:srgbClr val="CC66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8456" name="AutoShape 346"/>
          <p:cNvSpPr/>
          <p:nvPr/>
        </p:nvSpPr>
        <p:spPr>
          <a:xfrm>
            <a:off x="4127500" y="1371600"/>
            <a:ext cx="2311400" cy="3352800"/>
          </a:xfrm>
          <a:prstGeom prst="triangle">
            <a:avLst>
              <a:gd name="adj" fmla="val 50000"/>
            </a:avLst>
          </a:prstGeom>
          <a:noFill/>
          <a:ln w="41275" cap="flat" cmpd="sng">
            <a:solidFill>
              <a:schemeClr val="tx1"/>
            </a:solidFill>
            <a:prstDash val="solid"/>
            <a:miter/>
            <a:headEnd type="none" w="sm" len="sm"/>
            <a:tailEnd type="none" w="sm" len="sm"/>
          </a:ln>
        </p:spPr>
        <p:txBody>
          <a:bodyPr wrap="none" anchor="ctr"/>
          <a:lstStyle/>
          <a:p>
            <a:pPr lvl="0" algn="ctr" eaLnBrk="1" hangingPunct="1"/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57" name="Text Box 348"/>
          <p:cNvSpPr txBox="1"/>
          <p:nvPr/>
        </p:nvSpPr>
        <p:spPr>
          <a:xfrm>
            <a:off x="5695950" y="2057400"/>
            <a:ext cx="1651000" cy="3841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长</a:t>
            </a:r>
            <a:r>
              <a:rPr lang="ja-JP" altLang="en-US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・</a:t>
            </a:r>
            <a:r>
              <a:rPr lang="zh-CN" altLang="en-US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长</a:t>
            </a:r>
            <a:endParaRPr lang="ja-JP" altLang="en-US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458" name="Line 349"/>
          <p:cNvSpPr/>
          <p:nvPr/>
        </p:nvSpPr>
        <p:spPr>
          <a:xfrm>
            <a:off x="4870450" y="2514600"/>
            <a:ext cx="825500" cy="0"/>
          </a:xfrm>
          <a:prstGeom prst="line">
            <a:avLst/>
          </a:prstGeom>
          <a:ln w="41275" cap="flat" cmpd="sng">
            <a:solidFill>
              <a:schemeClr val="tx1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8459" name="Line 350"/>
          <p:cNvSpPr/>
          <p:nvPr/>
        </p:nvSpPr>
        <p:spPr>
          <a:xfrm>
            <a:off x="5035550" y="2133600"/>
            <a:ext cx="495300" cy="0"/>
          </a:xfrm>
          <a:prstGeom prst="line">
            <a:avLst/>
          </a:prstGeom>
          <a:ln w="41275" cap="flat" cmpd="sng">
            <a:solidFill>
              <a:schemeClr val="tx1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8460" name="Line 351"/>
          <p:cNvSpPr/>
          <p:nvPr/>
        </p:nvSpPr>
        <p:spPr>
          <a:xfrm>
            <a:off x="4705350" y="2971800"/>
            <a:ext cx="1155700" cy="0"/>
          </a:xfrm>
          <a:prstGeom prst="line">
            <a:avLst/>
          </a:prstGeom>
          <a:ln w="41275" cap="flat" cmpd="sng">
            <a:solidFill>
              <a:schemeClr val="tx1"/>
            </a:solidFill>
            <a:prstDash val="solid"/>
            <a:headEnd type="none" w="sm" len="sm"/>
            <a:tailEnd type="none" w="sm" len="sm"/>
          </a:ln>
        </p:spPr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3"/>
          <p:cNvSpPr/>
          <p:nvPr/>
        </p:nvSpPr>
        <p:spPr>
          <a:xfrm>
            <a:off x="0" y="157163"/>
            <a:ext cx="2535238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材培养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459" name="AutoShape 4"/>
          <p:cNvSpPr/>
          <p:nvPr/>
        </p:nvSpPr>
        <p:spPr>
          <a:xfrm>
            <a:off x="508000" y="1052513"/>
            <a:ext cx="9150350" cy="838200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0" hangingPunct="0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人才培育上倾注最大的力量，以实现公司持续的自主发展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460" name="Text Box 5"/>
          <p:cNvSpPr txBox="1"/>
          <p:nvPr/>
        </p:nvSpPr>
        <p:spPr>
          <a:xfrm>
            <a:off x="6026150" y="1982788"/>
            <a:ext cx="3027363" cy="4389437"/>
          </a:xfrm>
          <a:prstGeom prst="rect">
            <a:avLst/>
          </a:prstGeom>
          <a:solidFill>
            <a:srgbClr val="FFCC99">
              <a:alpha val="50195"/>
            </a:srgbClr>
          </a:solidFill>
          <a:ln w="31750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>
            <a:spAutoFit/>
          </a:bodyPr>
          <a:lstStyle/>
          <a:p>
            <a:pPr lvl="0" eaLnBrk="0" hangingPunct="0"/>
            <a:r>
              <a:rPr lang="ja-JP" altLang="en-US" sz="2800" b="1" u="sng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2800" b="1" u="sng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育课程</a:t>
            </a:r>
            <a:r>
              <a:rPr lang="ja-JP" altLang="en-US" sz="2400" b="1" u="sng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ja-JP" altLang="en-US" sz="2400" b="1" u="sng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１．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人教育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２．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教育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３．ＱＣ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教育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４．</a:t>
            </a:r>
            <a:r>
              <a:rPr lang="zh-CN" altLang="en-US" sz="2400" b="1" u="sng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人员培养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５．</a:t>
            </a:r>
            <a:r>
              <a:rPr lang="zh-CN" altLang="en-US" sz="2400" b="1" u="sng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能者培养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６．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人员培养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７．</a:t>
            </a:r>
            <a:r>
              <a:rPr lang="zh-CN" altLang="en-US" sz="2400" b="1" u="sng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监督者教育</a:t>
            </a:r>
            <a:endParaRPr lang="zh-CN" altLang="en-US" sz="2400" b="1" u="sng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８．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学生跟踪教育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9</a:t>
            </a:r>
            <a:r>
              <a:rPr lang="ja-JP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．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TWI系列教育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461" name="AutoShape 6"/>
          <p:cNvSpPr/>
          <p:nvPr/>
        </p:nvSpPr>
        <p:spPr>
          <a:xfrm>
            <a:off x="5072063" y="3619500"/>
            <a:ext cx="954087" cy="457200"/>
          </a:xfrm>
          <a:prstGeom prst="rightArrow">
            <a:avLst>
              <a:gd name="adj1" fmla="val 50000"/>
              <a:gd name="adj2" fmla="val 58643"/>
            </a:avLst>
          </a:prstGeom>
          <a:solidFill>
            <a:schemeClr val="accent1"/>
          </a:solidFill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1" hangingPunct="1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462" name="Text Box 7"/>
          <p:cNvSpPr txBox="1"/>
          <p:nvPr/>
        </p:nvSpPr>
        <p:spPr>
          <a:xfrm>
            <a:off x="247650" y="2554288"/>
            <a:ext cx="4822825" cy="2743200"/>
          </a:xfrm>
          <a:prstGeom prst="rect">
            <a:avLst/>
          </a:prstGeom>
          <a:solidFill>
            <a:srgbClr val="FFCC99">
              <a:alpha val="50195"/>
            </a:srgbClr>
          </a:solidFill>
          <a:ln w="31750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 lvl="0" eaLnBrk="0" hangingPunct="0"/>
            <a:r>
              <a:rPr lang="ja-JP" altLang="en-US" sz="2800" b="1" u="sng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2800" b="1" u="sng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种制度</a:t>
            </a:r>
            <a:r>
              <a:rPr lang="ja-JP" altLang="en-US" sz="2400" b="1" u="sng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ja-JP" altLang="en-US" sz="2400" b="1" u="sng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１．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海外研修</a:t>
            </a:r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・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派遣制度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２．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务改善提案制度</a:t>
            </a:r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表彰</a:t>
            </a:r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ja-JP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３．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特别资格教育</a:t>
            </a:r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・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认定制度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５．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适用日本海外研修制度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６．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标管理制度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0" hangingPunct="0"/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７．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经理奖表彰</a:t>
            </a:r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业绩等显著</a:t>
            </a:r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ja-JP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 Box 3"/>
          <p:cNvSpPr/>
          <p:nvPr/>
        </p:nvSpPr>
        <p:spPr>
          <a:xfrm>
            <a:off x="0" y="131763"/>
            <a:ext cx="2690813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主活动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83" name="Text Box 4"/>
          <p:cNvSpPr txBox="1"/>
          <p:nvPr/>
        </p:nvSpPr>
        <p:spPr>
          <a:xfrm>
            <a:off x="271463" y="5876925"/>
            <a:ext cx="9283700" cy="3968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r" eaLnBrk="1" hangingPunct="1">
              <a:spcBef>
                <a:spcPct val="50000"/>
              </a:spcBef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自主活动</a:t>
            </a:r>
            <a:r>
              <a:rPr lang="ja-JP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培养员工的自主管理能力，使公司能够独立自主的运行</a:t>
            </a:r>
            <a:endParaRPr lang="ja-JP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84" name="Text Box 5"/>
          <p:cNvSpPr txBox="1"/>
          <p:nvPr/>
        </p:nvSpPr>
        <p:spPr>
          <a:xfrm>
            <a:off x="508000" y="1052513"/>
            <a:ext cx="8585200" cy="4572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 eaLnBrk="1" hangingPunct="1"/>
            <a:r>
              <a:rPr lang="zh-CN" altLang="en-US" sz="24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置各种委员会以辅助管理者</a:t>
            </a:r>
            <a:endParaRPr lang="ja-JP" altLang="en-US" sz="24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3558" name="Group 6"/>
          <p:cNvGraphicFramePr>
            <a:graphicFrameLocks noGrp="1"/>
          </p:cNvGraphicFramePr>
          <p:nvPr/>
        </p:nvGraphicFramePr>
        <p:xfrm>
          <a:off x="508000" y="1700213"/>
          <a:ext cx="8836025" cy="4060826"/>
        </p:xfrm>
        <a:graphic>
          <a:graphicData uri="http://schemas.openxmlformats.org/drawingml/2006/table">
            <a:tbl>
              <a:tblPr/>
              <a:tblGrid>
                <a:gridCol w="3037622"/>
                <a:gridCol w="5798403"/>
              </a:tblGrid>
              <a:tr h="646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名称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作用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88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礼节向上委员会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检查规则的实施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524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en-US" altLang="ja-JP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C</a:t>
                      </a:r>
                      <a:r>
                        <a:rPr kumimoji="1" lang="en-US" altLang="zh-CN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Leader</a:t>
                      </a: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委员会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en-US" altLang="ja-JP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C</a:t>
                      </a: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使用规定</a:t>
                      </a:r>
                      <a:r>
                        <a:rPr kumimoji="1" lang="ja-JP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</a:t>
                      </a: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检查</a:t>
                      </a:r>
                      <a:r>
                        <a:rPr kumimoji="1" lang="ja-JP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</a:t>
                      </a:r>
                      <a:r>
                        <a:rPr kumimoji="1" lang="en-US" altLang="ja-JP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C</a:t>
                      </a: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教育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食堂委员会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食堂</a:t>
                      </a:r>
                      <a:r>
                        <a:rPr kumimoji="1" lang="ja-JP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</a:t>
                      </a: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饭菜管理的改善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72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卫生委员会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月的安全巡检、改善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604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零排放推进委员会</a:t>
                      </a:r>
                      <a:endParaRPr kumimoji="1" lang="ja-JP" alt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1" lang="zh-CN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部门为单位的零排放推进</a:t>
                      </a:r>
                      <a:endParaRPr kumimoji="1" lang="ja-JP" altLang="en-US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33" marR="9143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6" name="Group 3"/>
          <p:cNvGrpSpPr/>
          <p:nvPr/>
        </p:nvGrpSpPr>
        <p:grpSpPr>
          <a:xfrm>
            <a:off x="5480050" y="5938838"/>
            <a:ext cx="269875" cy="11112"/>
            <a:chOff x="3234" y="3993"/>
            <a:chExt cx="157" cy="5"/>
          </a:xfrm>
        </p:grpSpPr>
        <p:sp>
          <p:nvSpPr>
            <p:cNvPr id="21519" name="Rectangle 4"/>
            <p:cNvSpPr/>
            <p:nvPr/>
          </p:nvSpPr>
          <p:spPr>
            <a:xfrm>
              <a:off x="3234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0" name="Rectangle 5"/>
            <p:cNvSpPr/>
            <p:nvPr/>
          </p:nvSpPr>
          <p:spPr>
            <a:xfrm>
              <a:off x="3235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1" name="Rectangle 6"/>
            <p:cNvSpPr/>
            <p:nvPr/>
          </p:nvSpPr>
          <p:spPr>
            <a:xfrm>
              <a:off x="3236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2" name="Rectangle 7"/>
            <p:cNvSpPr/>
            <p:nvPr/>
          </p:nvSpPr>
          <p:spPr>
            <a:xfrm>
              <a:off x="3237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3" name="Rectangle 8"/>
            <p:cNvSpPr/>
            <p:nvPr/>
          </p:nvSpPr>
          <p:spPr>
            <a:xfrm>
              <a:off x="3238" y="3993"/>
              <a:ext cx="1" cy="5"/>
            </a:xfrm>
            <a:prstGeom prst="rect">
              <a:avLst/>
            </a:prstGeom>
            <a:solidFill>
              <a:srgbClr val="5B5B5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4" name="Rectangle 9"/>
            <p:cNvSpPr/>
            <p:nvPr/>
          </p:nvSpPr>
          <p:spPr>
            <a:xfrm>
              <a:off x="3239" y="3993"/>
              <a:ext cx="1" cy="5"/>
            </a:xfrm>
            <a:prstGeom prst="rect">
              <a:avLst/>
            </a:prstGeom>
            <a:solidFill>
              <a:srgbClr val="5C5C5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5" name="Rectangle 10"/>
            <p:cNvSpPr/>
            <p:nvPr/>
          </p:nvSpPr>
          <p:spPr>
            <a:xfrm>
              <a:off x="3240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6" name="Rectangle 11"/>
            <p:cNvSpPr/>
            <p:nvPr/>
          </p:nvSpPr>
          <p:spPr>
            <a:xfrm>
              <a:off x="3241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7" name="Rectangle 12"/>
            <p:cNvSpPr/>
            <p:nvPr/>
          </p:nvSpPr>
          <p:spPr>
            <a:xfrm>
              <a:off x="3242" y="3993"/>
              <a:ext cx="1" cy="5"/>
            </a:xfrm>
            <a:prstGeom prst="rect">
              <a:avLst/>
            </a:prstGeom>
            <a:solidFill>
              <a:srgbClr val="5E5E5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8" name="Rectangle 13"/>
            <p:cNvSpPr/>
            <p:nvPr/>
          </p:nvSpPr>
          <p:spPr>
            <a:xfrm>
              <a:off x="3243" y="3993"/>
              <a:ext cx="1" cy="5"/>
            </a:xfrm>
            <a:prstGeom prst="rect">
              <a:avLst/>
            </a:prstGeom>
            <a:solidFill>
              <a:srgbClr val="5F5F5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29" name="Rectangle 14"/>
            <p:cNvSpPr/>
            <p:nvPr/>
          </p:nvSpPr>
          <p:spPr>
            <a:xfrm>
              <a:off x="3244" y="3993"/>
              <a:ext cx="1" cy="5"/>
            </a:xfrm>
            <a:prstGeom prst="rect">
              <a:avLst/>
            </a:prstGeom>
            <a:solidFill>
              <a:srgbClr val="60606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0" name="Rectangle 15"/>
            <p:cNvSpPr/>
            <p:nvPr/>
          </p:nvSpPr>
          <p:spPr>
            <a:xfrm>
              <a:off x="3245" y="3993"/>
              <a:ext cx="1" cy="5"/>
            </a:xfrm>
            <a:prstGeom prst="rect">
              <a:avLst/>
            </a:prstGeom>
            <a:solidFill>
              <a:srgbClr val="61616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1" name="Rectangle 16"/>
            <p:cNvSpPr/>
            <p:nvPr/>
          </p:nvSpPr>
          <p:spPr>
            <a:xfrm>
              <a:off x="3246" y="3993"/>
              <a:ext cx="1" cy="5"/>
            </a:xfrm>
            <a:prstGeom prst="rect">
              <a:avLst/>
            </a:prstGeom>
            <a:solidFill>
              <a:srgbClr val="62626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2" name="Rectangle 17"/>
            <p:cNvSpPr/>
            <p:nvPr/>
          </p:nvSpPr>
          <p:spPr>
            <a:xfrm>
              <a:off x="3247" y="3993"/>
              <a:ext cx="1" cy="5"/>
            </a:xfrm>
            <a:prstGeom prst="rect">
              <a:avLst/>
            </a:prstGeom>
            <a:solidFill>
              <a:srgbClr val="64646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3" name="Rectangle 18"/>
            <p:cNvSpPr/>
            <p:nvPr/>
          </p:nvSpPr>
          <p:spPr>
            <a:xfrm>
              <a:off x="3248" y="3993"/>
              <a:ext cx="1" cy="5"/>
            </a:xfrm>
            <a:prstGeom prst="rect">
              <a:avLst/>
            </a:prstGeom>
            <a:solidFill>
              <a:srgbClr val="65656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4" name="Rectangle 19"/>
            <p:cNvSpPr/>
            <p:nvPr/>
          </p:nvSpPr>
          <p:spPr>
            <a:xfrm>
              <a:off x="3249" y="3993"/>
              <a:ext cx="1" cy="5"/>
            </a:xfrm>
            <a:prstGeom prst="rect">
              <a:avLst/>
            </a:prstGeom>
            <a:solidFill>
              <a:srgbClr val="66666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5" name="Rectangle 20"/>
            <p:cNvSpPr/>
            <p:nvPr/>
          </p:nvSpPr>
          <p:spPr>
            <a:xfrm>
              <a:off x="3250" y="3993"/>
              <a:ext cx="1" cy="5"/>
            </a:xfrm>
            <a:prstGeom prst="rect">
              <a:avLst/>
            </a:prstGeom>
            <a:solidFill>
              <a:srgbClr val="68686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6" name="Rectangle 21"/>
            <p:cNvSpPr/>
            <p:nvPr/>
          </p:nvSpPr>
          <p:spPr>
            <a:xfrm>
              <a:off x="3251" y="3993"/>
              <a:ext cx="1" cy="5"/>
            </a:xfrm>
            <a:prstGeom prst="rect">
              <a:avLst/>
            </a:prstGeom>
            <a:solidFill>
              <a:srgbClr val="69696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7" name="Rectangle 22"/>
            <p:cNvSpPr/>
            <p:nvPr/>
          </p:nvSpPr>
          <p:spPr>
            <a:xfrm>
              <a:off x="3252" y="3993"/>
              <a:ext cx="1" cy="5"/>
            </a:xfrm>
            <a:prstGeom prst="rect">
              <a:avLst/>
            </a:prstGeom>
            <a:solidFill>
              <a:srgbClr val="6B6B6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8" name="Rectangle 23"/>
            <p:cNvSpPr/>
            <p:nvPr/>
          </p:nvSpPr>
          <p:spPr>
            <a:xfrm>
              <a:off x="3253" y="3993"/>
              <a:ext cx="1" cy="5"/>
            </a:xfrm>
            <a:prstGeom prst="rect">
              <a:avLst/>
            </a:prstGeom>
            <a:solidFill>
              <a:srgbClr val="6D6D6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39" name="Rectangle 24"/>
            <p:cNvSpPr/>
            <p:nvPr/>
          </p:nvSpPr>
          <p:spPr>
            <a:xfrm>
              <a:off x="3254" y="3993"/>
              <a:ext cx="1" cy="5"/>
            </a:xfrm>
            <a:prstGeom prst="rect">
              <a:avLst/>
            </a:prstGeom>
            <a:solidFill>
              <a:srgbClr val="6E6E6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0" name="Rectangle 25"/>
            <p:cNvSpPr/>
            <p:nvPr/>
          </p:nvSpPr>
          <p:spPr>
            <a:xfrm>
              <a:off x="3255" y="3993"/>
              <a:ext cx="1" cy="5"/>
            </a:xfrm>
            <a:prstGeom prst="rect">
              <a:avLst/>
            </a:prstGeom>
            <a:solidFill>
              <a:srgbClr val="70707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1" name="Rectangle 26"/>
            <p:cNvSpPr/>
            <p:nvPr/>
          </p:nvSpPr>
          <p:spPr>
            <a:xfrm>
              <a:off x="3256" y="3993"/>
              <a:ext cx="1" cy="5"/>
            </a:xfrm>
            <a:prstGeom prst="rect">
              <a:avLst/>
            </a:prstGeom>
            <a:solidFill>
              <a:srgbClr val="71717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2" name="Rectangle 27"/>
            <p:cNvSpPr/>
            <p:nvPr/>
          </p:nvSpPr>
          <p:spPr>
            <a:xfrm>
              <a:off x="3257" y="3993"/>
              <a:ext cx="1" cy="5"/>
            </a:xfrm>
            <a:prstGeom prst="rect">
              <a:avLst/>
            </a:prstGeom>
            <a:solidFill>
              <a:srgbClr val="74747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3" name="Rectangle 28"/>
            <p:cNvSpPr/>
            <p:nvPr/>
          </p:nvSpPr>
          <p:spPr>
            <a:xfrm>
              <a:off x="3258" y="3993"/>
              <a:ext cx="1" cy="5"/>
            </a:xfrm>
            <a:prstGeom prst="rect">
              <a:avLst/>
            </a:prstGeom>
            <a:solidFill>
              <a:srgbClr val="76767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4" name="Rectangle 29"/>
            <p:cNvSpPr/>
            <p:nvPr/>
          </p:nvSpPr>
          <p:spPr>
            <a:xfrm>
              <a:off x="3259" y="3993"/>
              <a:ext cx="1" cy="5"/>
            </a:xfrm>
            <a:prstGeom prst="rect">
              <a:avLst/>
            </a:prstGeom>
            <a:solidFill>
              <a:srgbClr val="77777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5" name="Rectangle 30"/>
            <p:cNvSpPr/>
            <p:nvPr/>
          </p:nvSpPr>
          <p:spPr>
            <a:xfrm>
              <a:off x="3260" y="3993"/>
              <a:ext cx="1" cy="5"/>
            </a:xfrm>
            <a:prstGeom prst="rect">
              <a:avLst/>
            </a:prstGeom>
            <a:solidFill>
              <a:srgbClr val="79797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6" name="Rectangle 31"/>
            <p:cNvSpPr/>
            <p:nvPr/>
          </p:nvSpPr>
          <p:spPr>
            <a:xfrm>
              <a:off x="3261" y="3993"/>
              <a:ext cx="1" cy="5"/>
            </a:xfrm>
            <a:prstGeom prst="rect">
              <a:avLst/>
            </a:prstGeom>
            <a:solidFill>
              <a:srgbClr val="7C7C7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7" name="Rectangle 32"/>
            <p:cNvSpPr/>
            <p:nvPr/>
          </p:nvSpPr>
          <p:spPr>
            <a:xfrm>
              <a:off x="3262" y="3993"/>
              <a:ext cx="1" cy="5"/>
            </a:xfrm>
            <a:prstGeom prst="rect">
              <a:avLst/>
            </a:prstGeom>
            <a:solidFill>
              <a:srgbClr val="7E7E7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8" name="Rectangle 33"/>
            <p:cNvSpPr/>
            <p:nvPr/>
          </p:nvSpPr>
          <p:spPr>
            <a:xfrm>
              <a:off x="3263" y="3993"/>
              <a:ext cx="1" cy="5"/>
            </a:xfrm>
            <a:prstGeom prst="rect">
              <a:avLst/>
            </a:prstGeom>
            <a:solidFill>
              <a:srgbClr val="7F7F7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49" name="Rectangle 34"/>
            <p:cNvSpPr/>
            <p:nvPr/>
          </p:nvSpPr>
          <p:spPr>
            <a:xfrm>
              <a:off x="3264" y="3993"/>
              <a:ext cx="1" cy="5"/>
            </a:xfrm>
            <a:prstGeom prst="rect">
              <a:avLst/>
            </a:prstGeom>
            <a:solidFill>
              <a:srgbClr val="81818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0" name="Rectangle 35"/>
            <p:cNvSpPr/>
            <p:nvPr/>
          </p:nvSpPr>
          <p:spPr>
            <a:xfrm>
              <a:off x="3265" y="3993"/>
              <a:ext cx="1" cy="5"/>
            </a:xfrm>
            <a:prstGeom prst="rect">
              <a:avLst/>
            </a:prstGeom>
            <a:solidFill>
              <a:srgbClr val="84848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1" name="Rectangle 36"/>
            <p:cNvSpPr/>
            <p:nvPr/>
          </p:nvSpPr>
          <p:spPr>
            <a:xfrm>
              <a:off x="3266" y="3993"/>
              <a:ext cx="1" cy="5"/>
            </a:xfrm>
            <a:prstGeom prst="rect">
              <a:avLst/>
            </a:prstGeom>
            <a:solidFill>
              <a:srgbClr val="86868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2" name="Rectangle 37"/>
            <p:cNvSpPr/>
            <p:nvPr/>
          </p:nvSpPr>
          <p:spPr>
            <a:xfrm>
              <a:off x="3267" y="3993"/>
              <a:ext cx="1" cy="5"/>
            </a:xfrm>
            <a:prstGeom prst="rect">
              <a:avLst/>
            </a:prstGeom>
            <a:solidFill>
              <a:srgbClr val="88888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3" name="Rectangle 38"/>
            <p:cNvSpPr/>
            <p:nvPr/>
          </p:nvSpPr>
          <p:spPr>
            <a:xfrm>
              <a:off x="3268" y="3993"/>
              <a:ext cx="1" cy="5"/>
            </a:xfrm>
            <a:prstGeom prst="rect">
              <a:avLst/>
            </a:prstGeom>
            <a:solidFill>
              <a:srgbClr val="8A8A8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4" name="Rectangle 39"/>
            <p:cNvSpPr/>
            <p:nvPr/>
          </p:nvSpPr>
          <p:spPr>
            <a:xfrm>
              <a:off x="3269" y="3993"/>
              <a:ext cx="1" cy="5"/>
            </a:xfrm>
            <a:prstGeom prst="rect">
              <a:avLst/>
            </a:prstGeom>
            <a:solidFill>
              <a:srgbClr val="8C8C8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5" name="Rectangle 40"/>
            <p:cNvSpPr/>
            <p:nvPr/>
          </p:nvSpPr>
          <p:spPr>
            <a:xfrm>
              <a:off x="3270" y="3993"/>
              <a:ext cx="1" cy="5"/>
            </a:xfrm>
            <a:prstGeom prst="rect">
              <a:avLst/>
            </a:prstGeom>
            <a:solidFill>
              <a:srgbClr val="8E8E8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6" name="Rectangle 41"/>
            <p:cNvSpPr/>
            <p:nvPr/>
          </p:nvSpPr>
          <p:spPr>
            <a:xfrm>
              <a:off x="3271" y="3993"/>
              <a:ext cx="1" cy="5"/>
            </a:xfrm>
            <a:prstGeom prst="rect">
              <a:avLst/>
            </a:prstGeom>
            <a:solidFill>
              <a:srgbClr val="90909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7" name="Rectangle 42"/>
            <p:cNvSpPr/>
            <p:nvPr/>
          </p:nvSpPr>
          <p:spPr>
            <a:xfrm>
              <a:off x="3272" y="3993"/>
              <a:ext cx="1" cy="5"/>
            </a:xfrm>
            <a:prstGeom prst="rect">
              <a:avLst/>
            </a:prstGeom>
            <a:solidFill>
              <a:srgbClr val="92929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8" name="Rectangle 43"/>
            <p:cNvSpPr/>
            <p:nvPr/>
          </p:nvSpPr>
          <p:spPr>
            <a:xfrm>
              <a:off x="3273" y="3993"/>
              <a:ext cx="1" cy="5"/>
            </a:xfrm>
            <a:prstGeom prst="rect">
              <a:avLst/>
            </a:prstGeom>
            <a:solidFill>
              <a:srgbClr val="95959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59" name="Rectangle 44"/>
            <p:cNvSpPr/>
            <p:nvPr/>
          </p:nvSpPr>
          <p:spPr>
            <a:xfrm>
              <a:off x="3274" y="3993"/>
              <a:ext cx="1" cy="5"/>
            </a:xfrm>
            <a:prstGeom prst="rect">
              <a:avLst/>
            </a:prstGeom>
            <a:solidFill>
              <a:srgbClr val="97979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0" name="Rectangle 45"/>
            <p:cNvSpPr/>
            <p:nvPr/>
          </p:nvSpPr>
          <p:spPr>
            <a:xfrm>
              <a:off x="3275" y="3993"/>
              <a:ext cx="1" cy="5"/>
            </a:xfrm>
            <a:prstGeom prst="rect">
              <a:avLst/>
            </a:prstGeom>
            <a:solidFill>
              <a:srgbClr val="99999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1" name="Rectangle 46"/>
            <p:cNvSpPr/>
            <p:nvPr/>
          </p:nvSpPr>
          <p:spPr>
            <a:xfrm>
              <a:off x="3276" y="3993"/>
              <a:ext cx="1" cy="5"/>
            </a:xfrm>
            <a:prstGeom prst="rect">
              <a:avLst/>
            </a:prstGeom>
            <a:solidFill>
              <a:srgbClr val="9A9A9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2" name="Rectangle 47"/>
            <p:cNvSpPr/>
            <p:nvPr/>
          </p:nvSpPr>
          <p:spPr>
            <a:xfrm>
              <a:off x="3276" y="3993"/>
              <a:ext cx="1" cy="5"/>
            </a:xfrm>
            <a:prstGeom prst="rect">
              <a:avLst/>
            </a:prstGeom>
            <a:solidFill>
              <a:srgbClr val="9C9C9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3" name="Rectangle 48"/>
            <p:cNvSpPr/>
            <p:nvPr/>
          </p:nvSpPr>
          <p:spPr>
            <a:xfrm>
              <a:off x="3277" y="3993"/>
              <a:ext cx="1" cy="5"/>
            </a:xfrm>
            <a:prstGeom prst="rect">
              <a:avLst/>
            </a:prstGeom>
            <a:solidFill>
              <a:srgbClr val="9E9E9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4" name="Rectangle 49"/>
            <p:cNvSpPr/>
            <p:nvPr/>
          </p:nvSpPr>
          <p:spPr>
            <a:xfrm>
              <a:off x="3278" y="3993"/>
              <a:ext cx="1" cy="5"/>
            </a:xfrm>
            <a:prstGeom prst="rect">
              <a:avLst/>
            </a:prstGeom>
            <a:solidFill>
              <a:srgbClr val="A0A0A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5" name="Rectangle 50"/>
            <p:cNvSpPr/>
            <p:nvPr/>
          </p:nvSpPr>
          <p:spPr>
            <a:xfrm>
              <a:off x="3279" y="3993"/>
              <a:ext cx="1" cy="5"/>
            </a:xfrm>
            <a:prstGeom prst="rect">
              <a:avLst/>
            </a:prstGeom>
            <a:solidFill>
              <a:srgbClr val="A2A2A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6" name="Rectangle 51"/>
            <p:cNvSpPr/>
            <p:nvPr/>
          </p:nvSpPr>
          <p:spPr>
            <a:xfrm>
              <a:off x="3280" y="3993"/>
              <a:ext cx="1" cy="5"/>
            </a:xfrm>
            <a:prstGeom prst="rect">
              <a:avLst/>
            </a:prstGeom>
            <a:solidFill>
              <a:srgbClr val="A3A3A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7" name="Rectangle 52"/>
            <p:cNvSpPr/>
            <p:nvPr/>
          </p:nvSpPr>
          <p:spPr>
            <a:xfrm>
              <a:off x="3281" y="3993"/>
              <a:ext cx="1" cy="5"/>
            </a:xfrm>
            <a:prstGeom prst="rect">
              <a:avLst/>
            </a:prstGeom>
            <a:solidFill>
              <a:srgbClr val="A5A5A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8" name="Rectangle 53"/>
            <p:cNvSpPr/>
            <p:nvPr/>
          </p:nvSpPr>
          <p:spPr>
            <a:xfrm>
              <a:off x="3282" y="3993"/>
              <a:ext cx="1" cy="5"/>
            </a:xfrm>
            <a:prstGeom prst="rect">
              <a:avLst/>
            </a:prstGeom>
            <a:solidFill>
              <a:srgbClr val="A7A7A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69" name="Rectangle 54"/>
            <p:cNvSpPr/>
            <p:nvPr/>
          </p:nvSpPr>
          <p:spPr>
            <a:xfrm>
              <a:off x="3283" y="3993"/>
              <a:ext cx="1" cy="5"/>
            </a:xfrm>
            <a:prstGeom prst="rect">
              <a:avLst/>
            </a:prstGeom>
            <a:solidFill>
              <a:srgbClr val="A8A8A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0" name="Rectangle 55"/>
            <p:cNvSpPr/>
            <p:nvPr/>
          </p:nvSpPr>
          <p:spPr>
            <a:xfrm>
              <a:off x="3284" y="3993"/>
              <a:ext cx="1" cy="5"/>
            </a:xfrm>
            <a:prstGeom prst="rect">
              <a:avLst/>
            </a:prstGeom>
            <a:solidFill>
              <a:srgbClr val="AAAAA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1" name="Rectangle 56"/>
            <p:cNvSpPr/>
            <p:nvPr/>
          </p:nvSpPr>
          <p:spPr>
            <a:xfrm>
              <a:off x="3285" y="3993"/>
              <a:ext cx="1" cy="5"/>
            </a:xfrm>
            <a:prstGeom prst="rect">
              <a:avLst/>
            </a:prstGeom>
            <a:solidFill>
              <a:srgbClr val="ACACA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2" name="Rectangle 57"/>
            <p:cNvSpPr/>
            <p:nvPr/>
          </p:nvSpPr>
          <p:spPr>
            <a:xfrm>
              <a:off x="3286" y="3993"/>
              <a:ext cx="1" cy="5"/>
            </a:xfrm>
            <a:prstGeom prst="rect">
              <a:avLst/>
            </a:prstGeom>
            <a:solidFill>
              <a:srgbClr val="ADADA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3" name="Rectangle 58"/>
            <p:cNvSpPr/>
            <p:nvPr/>
          </p:nvSpPr>
          <p:spPr>
            <a:xfrm>
              <a:off x="3287" y="3993"/>
              <a:ext cx="1" cy="5"/>
            </a:xfrm>
            <a:prstGeom prst="rect">
              <a:avLst/>
            </a:prstGeom>
            <a:solidFill>
              <a:srgbClr val="AEAEA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4" name="Rectangle 59"/>
            <p:cNvSpPr/>
            <p:nvPr/>
          </p:nvSpPr>
          <p:spPr>
            <a:xfrm>
              <a:off x="3288" y="3993"/>
              <a:ext cx="1" cy="5"/>
            </a:xfrm>
            <a:prstGeom prst="rect">
              <a:avLst/>
            </a:prstGeom>
            <a:solidFill>
              <a:srgbClr val="AFAFA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5" name="Rectangle 60"/>
            <p:cNvSpPr/>
            <p:nvPr/>
          </p:nvSpPr>
          <p:spPr>
            <a:xfrm>
              <a:off x="3289" y="3993"/>
              <a:ext cx="1" cy="5"/>
            </a:xfrm>
            <a:prstGeom prst="rect">
              <a:avLst/>
            </a:prstGeom>
            <a:solidFill>
              <a:srgbClr val="B1B1B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6" name="Rectangle 61"/>
            <p:cNvSpPr/>
            <p:nvPr/>
          </p:nvSpPr>
          <p:spPr>
            <a:xfrm>
              <a:off x="3290" y="3993"/>
              <a:ext cx="1" cy="5"/>
            </a:xfrm>
            <a:prstGeom prst="rect">
              <a:avLst/>
            </a:prstGeom>
            <a:solidFill>
              <a:srgbClr val="B2B2B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7" name="Rectangle 62"/>
            <p:cNvSpPr/>
            <p:nvPr/>
          </p:nvSpPr>
          <p:spPr>
            <a:xfrm>
              <a:off x="3291" y="3993"/>
              <a:ext cx="1" cy="5"/>
            </a:xfrm>
            <a:prstGeom prst="rect">
              <a:avLst/>
            </a:prstGeom>
            <a:solidFill>
              <a:srgbClr val="B3B3B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8" name="Rectangle 63"/>
            <p:cNvSpPr/>
            <p:nvPr/>
          </p:nvSpPr>
          <p:spPr>
            <a:xfrm>
              <a:off x="3292" y="3993"/>
              <a:ext cx="1" cy="5"/>
            </a:xfrm>
            <a:prstGeom prst="rect">
              <a:avLst/>
            </a:prstGeom>
            <a:solidFill>
              <a:srgbClr val="B4B4B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79" name="Rectangle 64"/>
            <p:cNvSpPr/>
            <p:nvPr/>
          </p:nvSpPr>
          <p:spPr>
            <a:xfrm>
              <a:off x="3293" y="3993"/>
              <a:ext cx="1" cy="5"/>
            </a:xfrm>
            <a:prstGeom prst="rect">
              <a:avLst/>
            </a:prstGeom>
            <a:solidFill>
              <a:srgbClr val="B5B5B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0" name="Rectangle 65"/>
            <p:cNvSpPr/>
            <p:nvPr/>
          </p:nvSpPr>
          <p:spPr>
            <a:xfrm>
              <a:off x="3294" y="3993"/>
              <a:ext cx="1" cy="5"/>
            </a:xfrm>
            <a:prstGeom prst="rect">
              <a:avLst/>
            </a:prstGeom>
            <a:solidFill>
              <a:srgbClr val="B6B6B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1" name="Rectangle 66"/>
            <p:cNvSpPr/>
            <p:nvPr/>
          </p:nvSpPr>
          <p:spPr>
            <a:xfrm>
              <a:off x="3295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2" name="Rectangle 67"/>
            <p:cNvSpPr/>
            <p:nvPr/>
          </p:nvSpPr>
          <p:spPr>
            <a:xfrm>
              <a:off x="3296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3" name="Rectangle 68"/>
            <p:cNvSpPr/>
            <p:nvPr/>
          </p:nvSpPr>
          <p:spPr>
            <a:xfrm>
              <a:off x="3297" y="3993"/>
              <a:ext cx="1" cy="5"/>
            </a:xfrm>
            <a:prstGeom prst="rect">
              <a:avLst/>
            </a:prstGeom>
            <a:solidFill>
              <a:srgbClr val="B8B8B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4" name="Rectangle 69"/>
            <p:cNvSpPr/>
            <p:nvPr/>
          </p:nvSpPr>
          <p:spPr>
            <a:xfrm>
              <a:off x="3298" y="3993"/>
              <a:ext cx="1" cy="5"/>
            </a:xfrm>
            <a:prstGeom prst="rect">
              <a:avLst/>
            </a:prstGeom>
            <a:solidFill>
              <a:srgbClr val="B9B9B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5" name="Rectangle 70"/>
            <p:cNvSpPr/>
            <p:nvPr/>
          </p:nvSpPr>
          <p:spPr>
            <a:xfrm>
              <a:off x="3299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6" name="Rectangle 71"/>
            <p:cNvSpPr/>
            <p:nvPr/>
          </p:nvSpPr>
          <p:spPr>
            <a:xfrm>
              <a:off x="3300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7" name="Rectangle 72"/>
            <p:cNvSpPr/>
            <p:nvPr/>
          </p:nvSpPr>
          <p:spPr>
            <a:xfrm>
              <a:off x="3301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8" name="Rectangle 73"/>
            <p:cNvSpPr/>
            <p:nvPr/>
          </p:nvSpPr>
          <p:spPr>
            <a:xfrm>
              <a:off x="3302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89" name="Rectangle 74"/>
            <p:cNvSpPr/>
            <p:nvPr/>
          </p:nvSpPr>
          <p:spPr>
            <a:xfrm>
              <a:off x="3303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0" name="Rectangle 75"/>
            <p:cNvSpPr/>
            <p:nvPr/>
          </p:nvSpPr>
          <p:spPr>
            <a:xfrm>
              <a:off x="3304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1" name="Rectangle 76"/>
            <p:cNvSpPr/>
            <p:nvPr/>
          </p:nvSpPr>
          <p:spPr>
            <a:xfrm>
              <a:off x="3305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2" name="Rectangle 77"/>
            <p:cNvSpPr/>
            <p:nvPr/>
          </p:nvSpPr>
          <p:spPr>
            <a:xfrm>
              <a:off x="3306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3" name="Rectangle 78"/>
            <p:cNvSpPr/>
            <p:nvPr/>
          </p:nvSpPr>
          <p:spPr>
            <a:xfrm>
              <a:off x="3307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4" name="Rectangle 79"/>
            <p:cNvSpPr/>
            <p:nvPr/>
          </p:nvSpPr>
          <p:spPr>
            <a:xfrm>
              <a:off x="3308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5" name="Rectangle 80"/>
            <p:cNvSpPr/>
            <p:nvPr/>
          </p:nvSpPr>
          <p:spPr>
            <a:xfrm>
              <a:off x="3309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6" name="Rectangle 81"/>
            <p:cNvSpPr/>
            <p:nvPr/>
          </p:nvSpPr>
          <p:spPr>
            <a:xfrm>
              <a:off x="3310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7" name="Rectangle 82"/>
            <p:cNvSpPr/>
            <p:nvPr/>
          </p:nvSpPr>
          <p:spPr>
            <a:xfrm>
              <a:off x="3311" y="3993"/>
              <a:ext cx="1" cy="5"/>
            </a:xfrm>
            <a:prstGeom prst="rect">
              <a:avLst/>
            </a:prstGeom>
            <a:solidFill>
              <a:srgbClr val="BFBFB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8" name="Rectangle 83"/>
            <p:cNvSpPr/>
            <p:nvPr/>
          </p:nvSpPr>
          <p:spPr>
            <a:xfrm>
              <a:off x="3312" y="3993"/>
              <a:ext cx="1" cy="5"/>
            </a:xfrm>
            <a:prstGeom prst="rect">
              <a:avLst/>
            </a:prstGeom>
            <a:solidFill>
              <a:srgbClr val="BFBFB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99" name="Rectangle 84"/>
            <p:cNvSpPr/>
            <p:nvPr/>
          </p:nvSpPr>
          <p:spPr>
            <a:xfrm>
              <a:off x="3313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0" name="Rectangle 85"/>
            <p:cNvSpPr/>
            <p:nvPr/>
          </p:nvSpPr>
          <p:spPr>
            <a:xfrm>
              <a:off x="3314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1" name="Rectangle 86"/>
            <p:cNvSpPr/>
            <p:nvPr/>
          </p:nvSpPr>
          <p:spPr>
            <a:xfrm>
              <a:off x="3315" y="3993"/>
              <a:ext cx="1" cy="5"/>
            </a:xfrm>
            <a:prstGeom prst="rect">
              <a:avLst/>
            </a:prstGeom>
            <a:solidFill>
              <a:srgbClr val="BEBEB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2" name="Rectangle 87"/>
            <p:cNvSpPr/>
            <p:nvPr/>
          </p:nvSpPr>
          <p:spPr>
            <a:xfrm>
              <a:off x="3316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3" name="Rectangle 88"/>
            <p:cNvSpPr/>
            <p:nvPr/>
          </p:nvSpPr>
          <p:spPr>
            <a:xfrm>
              <a:off x="3317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4" name="Rectangle 89"/>
            <p:cNvSpPr/>
            <p:nvPr/>
          </p:nvSpPr>
          <p:spPr>
            <a:xfrm>
              <a:off x="3318" y="3993"/>
              <a:ext cx="1" cy="5"/>
            </a:xfrm>
            <a:prstGeom prst="rect">
              <a:avLst/>
            </a:prstGeom>
            <a:solidFill>
              <a:srgbClr val="BDBDB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5" name="Rectangle 90"/>
            <p:cNvSpPr/>
            <p:nvPr/>
          </p:nvSpPr>
          <p:spPr>
            <a:xfrm>
              <a:off x="3319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6" name="Rectangle 91"/>
            <p:cNvSpPr/>
            <p:nvPr/>
          </p:nvSpPr>
          <p:spPr>
            <a:xfrm>
              <a:off x="3320" y="3993"/>
              <a:ext cx="1" cy="5"/>
            </a:xfrm>
            <a:prstGeom prst="rect">
              <a:avLst/>
            </a:prstGeom>
            <a:solidFill>
              <a:srgbClr val="BCBCB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7" name="Rectangle 92"/>
            <p:cNvSpPr/>
            <p:nvPr/>
          </p:nvSpPr>
          <p:spPr>
            <a:xfrm>
              <a:off x="3321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8" name="Rectangle 93"/>
            <p:cNvSpPr/>
            <p:nvPr/>
          </p:nvSpPr>
          <p:spPr>
            <a:xfrm>
              <a:off x="3322" y="3993"/>
              <a:ext cx="1" cy="5"/>
            </a:xfrm>
            <a:prstGeom prst="rect">
              <a:avLst/>
            </a:prstGeom>
            <a:solidFill>
              <a:srgbClr val="BBBBB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09" name="Rectangle 94"/>
            <p:cNvSpPr/>
            <p:nvPr/>
          </p:nvSpPr>
          <p:spPr>
            <a:xfrm>
              <a:off x="3323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0" name="Rectangle 95"/>
            <p:cNvSpPr/>
            <p:nvPr/>
          </p:nvSpPr>
          <p:spPr>
            <a:xfrm>
              <a:off x="3324" y="3993"/>
              <a:ext cx="1" cy="5"/>
            </a:xfrm>
            <a:prstGeom prst="rect">
              <a:avLst/>
            </a:prstGeom>
            <a:solidFill>
              <a:srgbClr val="BABAB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1" name="Rectangle 96"/>
            <p:cNvSpPr/>
            <p:nvPr/>
          </p:nvSpPr>
          <p:spPr>
            <a:xfrm>
              <a:off x="3325" y="3993"/>
              <a:ext cx="1" cy="5"/>
            </a:xfrm>
            <a:prstGeom prst="rect">
              <a:avLst/>
            </a:prstGeom>
            <a:solidFill>
              <a:srgbClr val="B9B9B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2" name="Rectangle 97"/>
            <p:cNvSpPr/>
            <p:nvPr/>
          </p:nvSpPr>
          <p:spPr>
            <a:xfrm>
              <a:off x="3326" y="3993"/>
              <a:ext cx="1" cy="5"/>
            </a:xfrm>
            <a:prstGeom prst="rect">
              <a:avLst/>
            </a:prstGeom>
            <a:solidFill>
              <a:srgbClr val="B8B8B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3" name="Rectangle 98"/>
            <p:cNvSpPr/>
            <p:nvPr/>
          </p:nvSpPr>
          <p:spPr>
            <a:xfrm>
              <a:off x="3327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4" name="Rectangle 99"/>
            <p:cNvSpPr/>
            <p:nvPr/>
          </p:nvSpPr>
          <p:spPr>
            <a:xfrm>
              <a:off x="3328" y="3993"/>
              <a:ext cx="1" cy="5"/>
            </a:xfrm>
            <a:prstGeom prst="rect">
              <a:avLst/>
            </a:prstGeom>
            <a:solidFill>
              <a:srgbClr val="B7B7B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5" name="Rectangle 100"/>
            <p:cNvSpPr/>
            <p:nvPr/>
          </p:nvSpPr>
          <p:spPr>
            <a:xfrm>
              <a:off x="3329" y="3993"/>
              <a:ext cx="1" cy="5"/>
            </a:xfrm>
            <a:prstGeom prst="rect">
              <a:avLst/>
            </a:prstGeom>
            <a:solidFill>
              <a:srgbClr val="B6B6B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6" name="Rectangle 101"/>
            <p:cNvSpPr/>
            <p:nvPr/>
          </p:nvSpPr>
          <p:spPr>
            <a:xfrm>
              <a:off x="3330" y="3993"/>
              <a:ext cx="1" cy="5"/>
            </a:xfrm>
            <a:prstGeom prst="rect">
              <a:avLst/>
            </a:prstGeom>
            <a:solidFill>
              <a:srgbClr val="B5B5B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7" name="Rectangle 102"/>
            <p:cNvSpPr/>
            <p:nvPr/>
          </p:nvSpPr>
          <p:spPr>
            <a:xfrm>
              <a:off x="3331" y="3993"/>
              <a:ext cx="1" cy="5"/>
            </a:xfrm>
            <a:prstGeom prst="rect">
              <a:avLst/>
            </a:prstGeom>
            <a:solidFill>
              <a:srgbClr val="B4B4B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8" name="Rectangle 103"/>
            <p:cNvSpPr/>
            <p:nvPr/>
          </p:nvSpPr>
          <p:spPr>
            <a:xfrm>
              <a:off x="3332" y="3993"/>
              <a:ext cx="1" cy="5"/>
            </a:xfrm>
            <a:prstGeom prst="rect">
              <a:avLst/>
            </a:prstGeom>
            <a:solidFill>
              <a:srgbClr val="B3B3B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19" name="Rectangle 104"/>
            <p:cNvSpPr/>
            <p:nvPr/>
          </p:nvSpPr>
          <p:spPr>
            <a:xfrm>
              <a:off x="3333" y="3993"/>
              <a:ext cx="1" cy="5"/>
            </a:xfrm>
            <a:prstGeom prst="rect">
              <a:avLst/>
            </a:prstGeom>
            <a:solidFill>
              <a:srgbClr val="B2B2B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0" name="Rectangle 105"/>
            <p:cNvSpPr/>
            <p:nvPr/>
          </p:nvSpPr>
          <p:spPr>
            <a:xfrm>
              <a:off x="3334" y="3993"/>
              <a:ext cx="1" cy="5"/>
            </a:xfrm>
            <a:prstGeom prst="rect">
              <a:avLst/>
            </a:prstGeom>
            <a:solidFill>
              <a:srgbClr val="B1B1B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1" name="Rectangle 106"/>
            <p:cNvSpPr/>
            <p:nvPr/>
          </p:nvSpPr>
          <p:spPr>
            <a:xfrm>
              <a:off x="3335" y="3993"/>
              <a:ext cx="1" cy="5"/>
            </a:xfrm>
            <a:prstGeom prst="rect">
              <a:avLst/>
            </a:prstGeom>
            <a:solidFill>
              <a:srgbClr val="AFAFA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2" name="Rectangle 107"/>
            <p:cNvSpPr/>
            <p:nvPr/>
          </p:nvSpPr>
          <p:spPr>
            <a:xfrm>
              <a:off x="3336" y="3993"/>
              <a:ext cx="1" cy="5"/>
            </a:xfrm>
            <a:prstGeom prst="rect">
              <a:avLst/>
            </a:prstGeom>
            <a:solidFill>
              <a:srgbClr val="AEAEA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3" name="Rectangle 108"/>
            <p:cNvSpPr/>
            <p:nvPr/>
          </p:nvSpPr>
          <p:spPr>
            <a:xfrm>
              <a:off x="3337" y="3993"/>
              <a:ext cx="1" cy="5"/>
            </a:xfrm>
            <a:prstGeom prst="rect">
              <a:avLst/>
            </a:prstGeom>
            <a:solidFill>
              <a:srgbClr val="ADADA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4" name="Rectangle 109"/>
            <p:cNvSpPr/>
            <p:nvPr/>
          </p:nvSpPr>
          <p:spPr>
            <a:xfrm>
              <a:off x="3338" y="3993"/>
              <a:ext cx="1" cy="5"/>
            </a:xfrm>
            <a:prstGeom prst="rect">
              <a:avLst/>
            </a:prstGeom>
            <a:solidFill>
              <a:srgbClr val="ACACA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5" name="Rectangle 110"/>
            <p:cNvSpPr/>
            <p:nvPr/>
          </p:nvSpPr>
          <p:spPr>
            <a:xfrm>
              <a:off x="3339" y="3993"/>
              <a:ext cx="1" cy="5"/>
            </a:xfrm>
            <a:prstGeom prst="rect">
              <a:avLst/>
            </a:prstGeom>
            <a:solidFill>
              <a:srgbClr val="AAAAA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6" name="Rectangle 111"/>
            <p:cNvSpPr/>
            <p:nvPr/>
          </p:nvSpPr>
          <p:spPr>
            <a:xfrm>
              <a:off x="3340" y="3993"/>
              <a:ext cx="1" cy="5"/>
            </a:xfrm>
            <a:prstGeom prst="rect">
              <a:avLst/>
            </a:prstGeom>
            <a:solidFill>
              <a:srgbClr val="A8A8A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7" name="Rectangle 112"/>
            <p:cNvSpPr/>
            <p:nvPr/>
          </p:nvSpPr>
          <p:spPr>
            <a:xfrm>
              <a:off x="3341" y="3993"/>
              <a:ext cx="1" cy="5"/>
            </a:xfrm>
            <a:prstGeom prst="rect">
              <a:avLst/>
            </a:prstGeom>
            <a:solidFill>
              <a:srgbClr val="A7A7A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8" name="Rectangle 113"/>
            <p:cNvSpPr/>
            <p:nvPr/>
          </p:nvSpPr>
          <p:spPr>
            <a:xfrm>
              <a:off x="3342" y="3993"/>
              <a:ext cx="1" cy="5"/>
            </a:xfrm>
            <a:prstGeom prst="rect">
              <a:avLst/>
            </a:prstGeom>
            <a:solidFill>
              <a:srgbClr val="A5A5A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29" name="Rectangle 114"/>
            <p:cNvSpPr/>
            <p:nvPr/>
          </p:nvSpPr>
          <p:spPr>
            <a:xfrm>
              <a:off x="3343" y="3993"/>
              <a:ext cx="1" cy="5"/>
            </a:xfrm>
            <a:prstGeom prst="rect">
              <a:avLst/>
            </a:prstGeom>
            <a:solidFill>
              <a:srgbClr val="A3A3A3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0" name="Rectangle 115"/>
            <p:cNvSpPr/>
            <p:nvPr/>
          </p:nvSpPr>
          <p:spPr>
            <a:xfrm>
              <a:off x="3344" y="3993"/>
              <a:ext cx="1" cy="5"/>
            </a:xfrm>
            <a:prstGeom prst="rect">
              <a:avLst/>
            </a:prstGeom>
            <a:solidFill>
              <a:srgbClr val="A2A2A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1" name="Rectangle 116"/>
            <p:cNvSpPr/>
            <p:nvPr/>
          </p:nvSpPr>
          <p:spPr>
            <a:xfrm>
              <a:off x="3345" y="3993"/>
              <a:ext cx="1" cy="5"/>
            </a:xfrm>
            <a:prstGeom prst="rect">
              <a:avLst/>
            </a:prstGeom>
            <a:solidFill>
              <a:srgbClr val="A0A0A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2" name="Rectangle 117"/>
            <p:cNvSpPr/>
            <p:nvPr/>
          </p:nvSpPr>
          <p:spPr>
            <a:xfrm>
              <a:off x="3346" y="3993"/>
              <a:ext cx="1" cy="5"/>
            </a:xfrm>
            <a:prstGeom prst="rect">
              <a:avLst/>
            </a:prstGeom>
            <a:solidFill>
              <a:srgbClr val="9E9E9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3" name="Rectangle 118"/>
            <p:cNvSpPr/>
            <p:nvPr/>
          </p:nvSpPr>
          <p:spPr>
            <a:xfrm>
              <a:off x="3347" y="3993"/>
              <a:ext cx="1" cy="5"/>
            </a:xfrm>
            <a:prstGeom prst="rect">
              <a:avLst/>
            </a:prstGeom>
            <a:solidFill>
              <a:srgbClr val="9C9C9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4" name="Rectangle 119"/>
            <p:cNvSpPr/>
            <p:nvPr/>
          </p:nvSpPr>
          <p:spPr>
            <a:xfrm>
              <a:off x="3348" y="3993"/>
              <a:ext cx="1" cy="5"/>
            </a:xfrm>
            <a:prstGeom prst="rect">
              <a:avLst/>
            </a:prstGeom>
            <a:solidFill>
              <a:srgbClr val="9A9A9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5" name="Rectangle 120"/>
            <p:cNvSpPr/>
            <p:nvPr/>
          </p:nvSpPr>
          <p:spPr>
            <a:xfrm>
              <a:off x="3349" y="3993"/>
              <a:ext cx="1" cy="5"/>
            </a:xfrm>
            <a:prstGeom prst="rect">
              <a:avLst/>
            </a:prstGeom>
            <a:solidFill>
              <a:srgbClr val="99999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6" name="Rectangle 121"/>
            <p:cNvSpPr/>
            <p:nvPr/>
          </p:nvSpPr>
          <p:spPr>
            <a:xfrm>
              <a:off x="3350" y="3993"/>
              <a:ext cx="1" cy="5"/>
            </a:xfrm>
            <a:prstGeom prst="rect">
              <a:avLst/>
            </a:prstGeom>
            <a:solidFill>
              <a:srgbClr val="97979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7" name="Rectangle 122"/>
            <p:cNvSpPr/>
            <p:nvPr/>
          </p:nvSpPr>
          <p:spPr>
            <a:xfrm>
              <a:off x="3351" y="3993"/>
              <a:ext cx="1" cy="5"/>
            </a:xfrm>
            <a:prstGeom prst="rect">
              <a:avLst/>
            </a:prstGeom>
            <a:solidFill>
              <a:srgbClr val="94949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8" name="Rectangle 123"/>
            <p:cNvSpPr/>
            <p:nvPr/>
          </p:nvSpPr>
          <p:spPr>
            <a:xfrm>
              <a:off x="3352" y="3993"/>
              <a:ext cx="1" cy="5"/>
            </a:xfrm>
            <a:prstGeom prst="rect">
              <a:avLst/>
            </a:prstGeom>
            <a:solidFill>
              <a:srgbClr val="92929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39" name="Rectangle 124"/>
            <p:cNvSpPr/>
            <p:nvPr/>
          </p:nvSpPr>
          <p:spPr>
            <a:xfrm>
              <a:off x="3353" y="3993"/>
              <a:ext cx="1" cy="5"/>
            </a:xfrm>
            <a:prstGeom prst="rect">
              <a:avLst/>
            </a:prstGeom>
            <a:solidFill>
              <a:srgbClr val="90909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0" name="Rectangle 125"/>
            <p:cNvSpPr/>
            <p:nvPr/>
          </p:nvSpPr>
          <p:spPr>
            <a:xfrm>
              <a:off x="3354" y="3993"/>
              <a:ext cx="1" cy="5"/>
            </a:xfrm>
            <a:prstGeom prst="rect">
              <a:avLst/>
            </a:prstGeom>
            <a:solidFill>
              <a:srgbClr val="8E8E8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1" name="Rectangle 126"/>
            <p:cNvSpPr/>
            <p:nvPr/>
          </p:nvSpPr>
          <p:spPr>
            <a:xfrm>
              <a:off x="3355" y="3993"/>
              <a:ext cx="1" cy="5"/>
            </a:xfrm>
            <a:prstGeom prst="rect">
              <a:avLst/>
            </a:prstGeom>
            <a:solidFill>
              <a:srgbClr val="8C8C8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2" name="Rectangle 127"/>
            <p:cNvSpPr/>
            <p:nvPr/>
          </p:nvSpPr>
          <p:spPr>
            <a:xfrm>
              <a:off x="3356" y="3993"/>
              <a:ext cx="1" cy="5"/>
            </a:xfrm>
            <a:prstGeom prst="rect">
              <a:avLst/>
            </a:prstGeom>
            <a:solidFill>
              <a:srgbClr val="8A8A8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3" name="Rectangle 128"/>
            <p:cNvSpPr/>
            <p:nvPr/>
          </p:nvSpPr>
          <p:spPr>
            <a:xfrm>
              <a:off x="3357" y="3993"/>
              <a:ext cx="1" cy="5"/>
            </a:xfrm>
            <a:prstGeom prst="rect">
              <a:avLst/>
            </a:prstGeom>
            <a:solidFill>
              <a:srgbClr val="88888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4" name="Rectangle 129"/>
            <p:cNvSpPr/>
            <p:nvPr/>
          </p:nvSpPr>
          <p:spPr>
            <a:xfrm>
              <a:off x="3358" y="3993"/>
              <a:ext cx="1" cy="5"/>
            </a:xfrm>
            <a:prstGeom prst="rect">
              <a:avLst/>
            </a:prstGeom>
            <a:solidFill>
              <a:srgbClr val="86868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5" name="Rectangle 130"/>
            <p:cNvSpPr/>
            <p:nvPr/>
          </p:nvSpPr>
          <p:spPr>
            <a:xfrm>
              <a:off x="3359" y="3993"/>
              <a:ext cx="1" cy="5"/>
            </a:xfrm>
            <a:prstGeom prst="rect">
              <a:avLst/>
            </a:prstGeom>
            <a:solidFill>
              <a:srgbClr val="84848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6" name="Rectangle 131"/>
            <p:cNvSpPr/>
            <p:nvPr/>
          </p:nvSpPr>
          <p:spPr>
            <a:xfrm>
              <a:off x="3360" y="3993"/>
              <a:ext cx="1" cy="5"/>
            </a:xfrm>
            <a:prstGeom prst="rect">
              <a:avLst/>
            </a:prstGeom>
            <a:solidFill>
              <a:srgbClr val="81818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7" name="Rectangle 132"/>
            <p:cNvSpPr/>
            <p:nvPr/>
          </p:nvSpPr>
          <p:spPr>
            <a:xfrm>
              <a:off x="3361" y="3993"/>
              <a:ext cx="1" cy="5"/>
            </a:xfrm>
            <a:prstGeom prst="rect">
              <a:avLst/>
            </a:prstGeom>
            <a:solidFill>
              <a:srgbClr val="7F7F7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8" name="Rectangle 133"/>
            <p:cNvSpPr/>
            <p:nvPr/>
          </p:nvSpPr>
          <p:spPr>
            <a:xfrm>
              <a:off x="3362" y="3993"/>
              <a:ext cx="1" cy="5"/>
            </a:xfrm>
            <a:prstGeom prst="rect">
              <a:avLst/>
            </a:prstGeom>
            <a:solidFill>
              <a:srgbClr val="7E7E7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49" name="Rectangle 134"/>
            <p:cNvSpPr/>
            <p:nvPr/>
          </p:nvSpPr>
          <p:spPr>
            <a:xfrm>
              <a:off x="3363" y="3993"/>
              <a:ext cx="1" cy="5"/>
            </a:xfrm>
            <a:prstGeom prst="rect">
              <a:avLst/>
            </a:prstGeom>
            <a:solidFill>
              <a:srgbClr val="7C7C7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0" name="Rectangle 135"/>
            <p:cNvSpPr/>
            <p:nvPr/>
          </p:nvSpPr>
          <p:spPr>
            <a:xfrm>
              <a:off x="3364" y="3993"/>
              <a:ext cx="1" cy="5"/>
            </a:xfrm>
            <a:prstGeom prst="rect">
              <a:avLst/>
            </a:prstGeom>
            <a:solidFill>
              <a:srgbClr val="79797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1" name="Rectangle 136"/>
            <p:cNvSpPr/>
            <p:nvPr/>
          </p:nvSpPr>
          <p:spPr>
            <a:xfrm>
              <a:off x="3365" y="3993"/>
              <a:ext cx="1" cy="5"/>
            </a:xfrm>
            <a:prstGeom prst="rect">
              <a:avLst/>
            </a:prstGeom>
            <a:solidFill>
              <a:srgbClr val="777777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2" name="Rectangle 137"/>
            <p:cNvSpPr/>
            <p:nvPr/>
          </p:nvSpPr>
          <p:spPr>
            <a:xfrm>
              <a:off x="3366" y="3993"/>
              <a:ext cx="1" cy="5"/>
            </a:xfrm>
            <a:prstGeom prst="rect">
              <a:avLst/>
            </a:prstGeom>
            <a:solidFill>
              <a:srgbClr val="76767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3" name="Rectangle 138"/>
            <p:cNvSpPr/>
            <p:nvPr/>
          </p:nvSpPr>
          <p:spPr>
            <a:xfrm>
              <a:off x="3367" y="3993"/>
              <a:ext cx="1" cy="5"/>
            </a:xfrm>
            <a:prstGeom prst="rect">
              <a:avLst/>
            </a:prstGeom>
            <a:solidFill>
              <a:srgbClr val="74747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4" name="Rectangle 139"/>
            <p:cNvSpPr/>
            <p:nvPr/>
          </p:nvSpPr>
          <p:spPr>
            <a:xfrm>
              <a:off x="3368" y="3993"/>
              <a:ext cx="1" cy="5"/>
            </a:xfrm>
            <a:prstGeom prst="rect">
              <a:avLst/>
            </a:prstGeom>
            <a:solidFill>
              <a:srgbClr val="71717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5" name="Rectangle 140"/>
            <p:cNvSpPr/>
            <p:nvPr/>
          </p:nvSpPr>
          <p:spPr>
            <a:xfrm>
              <a:off x="3369" y="3993"/>
              <a:ext cx="1" cy="5"/>
            </a:xfrm>
            <a:prstGeom prst="rect">
              <a:avLst/>
            </a:prstGeom>
            <a:solidFill>
              <a:srgbClr val="70707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6" name="Rectangle 141"/>
            <p:cNvSpPr/>
            <p:nvPr/>
          </p:nvSpPr>
          <p:spPr>
            <a:xfrm>
              <a:off x="3370" y="3993"/>
              <a:ext cx="1" cy="5"/>
            </a:xfrm>
            <a:prstGeom prst="rect">
              <a:avLst/>
            </a:prstGeom>
            <a:solidFill>
              <a:srgbClr val="6E6E6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7" name="Rectangle 142"/>
            <p:cNvSpPr/>
            <p:nvPr/>
          </p:nvSpPr>
          <p:spPr>
            <a:xfrm>
              <a:off x="3371" y="3993"/>
              <a:ext cx="1" cy="5"/>
            </a:xfrm>
            <a:prstGeom prst="rect">
              <a:avLst/>
            </a:prstGeom>
            <a:solidFill>
              <a:srgbClr val="6D6D6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8" name="Rectangle 143"/>
            <p:cNvSpPr/>
            <p:nvPr/>
          </p:nvSpPr>
          <p:spPr>
            <a:xfrm>
              <a:off x="3372" y="3993"/>
              <a:ext cx="1" cy="5"/>
            </a:xfrm>
            <a:prstGeom prst="rect">
              <a:avLst/>
            </a:prstGeom>
            <a:solidFill>
              <a:srgbClr val="6B6B6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59" name="Rectangle 144"/>
            <p:cNvSpPr/>
            <p:nvPr/>
          </p:nvSpPr>
          <p:spPr>
            <a:xfrm>
              <a:off x="3373" y="3993"/>
              <a:ext cx="1" cy="5"/>
            </a:xfrm>
            <a:prstGeom prst="rect">
              <a:avLst/>
            </a:prstGeom>
            <a:solidFill>
              <a:srgbClr val="69696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0" name="Rectangle 145"/>
            <p:cNvSpPr/>
            <p:nvPr/>
          </p:nvSpPr>
          <p:spPr>
            <a:xfrm>
              <a:off x="3374" y="3993"/>
              <a:ext cx="1" cy="5"/>
            </a:xfrm>
            <a:prstGeom prst="rect">
              <a:avLst/>
            </a:prstGeom>
            <a:solidFill>
              <a:srgbClr val="686868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1" name="Rectangle 146"/>
            <p:cNvSpPr/>
            <p:nvPr/>
          </p:nvSpPr>
          <p:spPr>
            <a:xfrm>
              <a:off x="3375" y="3993"/>
              <a:ext cx="1" cy="5"/>
            </a:xfrm>
            <a:prstGeom prst="rect">
              <a:avLst/>
            </a:prstGeom>
            <a:solidFill>
              <a:srgbClr val="666666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2" name="Rectangle 147"/>
            <p:cNvSpPr/>
            <p:nvPr/>
          </p:nvSpPr>
          <p:spPr>
            <a:xfrm>
              <a:off x="3376" y="3993"/>
              <a:ext cx="1" cy="5"/>
            </a:xfrm>
            <a:prstGeom prst="rect">
              <a:avLst/>
            </a:prstGeom>
            <a:solidFill>
              <a:srgbClr val="656565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3" name="Rectangle 148"/>
            <p:cNvSpPr/>
            <p:nvPr/>
          </p:nvSpPr>
          <p:spPr>
            <a:xfrm>
              <a:off x="3377" y="3993"/>
              <a:ext cx="1" cy="5"/>
            </a:xfrm>
            <a:prstGeom prst="rect">
              <a:avLst/>
            </a:prstGeom>
            <a:solidFill>
              <a:srgbClr val="646464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4" name="Rectangle 149"/>
            <p:cNvSpPr/>
            <p:nvPr/>
          </p:nvSpPr>
          <p:spPr>
            <a:xfrm>
              <a:off x="3378" y="3993"/>
              <a:ext cx="1" cy="5"/>
            </a:xfrm>
            <a:prstGeom prst="rect">
              <a:avLst/>
            </a:prstGeom>
            <a:solidFill>
              <a:srgbClr val="626262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5" name="Rectangle 150"/>
            <p:cNvSpPr/>
            <p:nvPr/>
          </p:nvSpPr>
          <p:spPr>
            <a:xfrm>
              <a:off x="3379" y="3993"/>
              <a:ext cx="1" cy="5"/>
            </a:xfrm>
            <a:prstGeom prst="rect">
              <a:avLst/>
            </a:prstGeom>
            <a:solidFill>
              <a:srgbClr val="616161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6" name="Rectangle 151"/>
            <p:cNvSpPr/>
            <p:nvPr/>
          </p:nvSpPr>
          <p:spPr>
            <a:xfrm>
              <a:off x="3380" y="3993"/>
              <a:ext cx="1" cy="5"/>
            </a:xfrm>
            <a:prstGeom prst="rect">
              <a:avLst/>
            </a:prstGeom>
            <a:solidFill>
              <a:srgbClr val="606060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7" name="Rectangle 152"/>
            <p:cNvSpPr/>
            <p:nvPr/>
          </p:nvSpPr>
          <p:spPr>
            <a:xfrm>
              <a:off x="3381" y="3993"/>
              <a:ext cx="1" cy="5"/>
            </a:xfrm>
            <a:prstGeom prst="rect">
              <a:avLst/>
            </a:prstGeom>
            <a:solidFill>
              <a:srgbClr val="5F5F5F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8" name="Rectangle 153"/>
            <p:cNvSpPr/>
            <p:nvPr/>
          </p:nvSpPr>
          <p:spPr>
            <a:xfrm>
              <a:off x="3382" y="3993"/>
              <a:ext cx="1" cy="5"/>
            </a:xfrm>
            <a:prstGeom prst="rect">
              <a:avLst/>
            </a:prstGeom>
            <a:solidFill>
              <a:srgbClr val="5E5E5E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69" name="Rectangle 154"/>
            <p:cNvSpPr/>
            <p:nvPr/>
          </p:nvSpPr>
          <p:spPr>
            <a:xfrm>
              <a:off x="3383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70" name="Rectangle 155"/>
            <p:cNvSpPr/>
            <p:nvPr/>
          </p:nvSpPr>
          <p:spPr>
            <a:xfrm>
              <a:off x="3384" y="3993"/>
              <a:ext cx="1" cy="5"/>
            </a:xfrm>
            <a:prstGeom prst="rect">
              <a:avLst/>
            </a:prstGeom>
            <a:solidFill>
              <a:srgbClr val="5D5D5D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71" name="Rectangle 156"/>
            <p:cNvSpPr/>
            <p:nvPr/>
          </p:nvSpPr>
          <p:spPr>
            <a:xfrm>
              <a:off x="3385" y="3993"/>
              <a:ext cx="1" cy="5"/>
            </a:xfrm>
            <a:prstGeom prst="rect">
              <a:avLst/>
            </a:prstGeom>
            <a:solidFill>
              <a:srgbClr val="5C5C5C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72" name="Rectangle 157"/>
            <p:cNvSpPr/>
            <p:nvPr/>
          </p:nvSpPr>
          <p:spPr>
            <a:xfrm>
              <a:off x="3386" y="3993"/>
              <a:ext cx="1" cy="5"/>
            </a:xfrm>
            <a:prstGeom prst="rect">
              <a:avLst/>
            </a:prstGeom>
            <a:solidFill>
              <a:srgbClr val="5B5B5B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73" name="Rectangle 158"/>
            <p:cNvSpPr/>
            <p:nvPr/>
          </p:nvSpPr>
          <p:spPr>
            <a:xfrm>
              <a:off x="3387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74" name="Rectangle 159"/>
            <p:cNvSpPr/>
            <p:nvPr/>
          </p:nvSpPr>
          <p:spPr>
            <a:xfrm>
              <a:off x="3388" y="3993"/>
              <a:ext cx="1" cy="5"/>
            </a:xfrm>
            <a:prstGeom prst="rect">
              <a:avLst/>
            </a:prstGeom>
            <a:solidFill>
              <a:srgbClr val="5A5A5A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75" name="Rectangle 160"/>
            <p:cNvSpPr/>
            <p:nvPr/>
          </p:nvSpPr>
          <p:spPr>
            <a:xfrm>
              <a:off x="3389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76" name="Rectangle 161"/>
            <p:cNvSpPr/>
            <p:nvPr/>
          </p:nvSpPr>
          <p:spPr>
            <a:xfrm>
              <a:off x="3390" y="3993"/>
              <a:ext cx="1" cy="5"/>
            </a:xfrm>
            <a:prstGeom prst="rect">
              <a:avLst/>
            </a:prstGeom>
            <a:solidFill>
              <a:srgbClr val="595959"/>
            </a:solid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4738" name="Rectangle 162"/>
          <p:cNvSpPr>
            <a:spLocks noChangeArrowheads="1"/>
          </p:cNvSpPr>
          <p:nvPr/>
        </p:nvSpPr>
        <p:spPr bwMode="auto">
          <a:xfrm>
            <a:off x="330200" y="2087563"/>
            <a:ext cx="3219450" cy="3429000"/>
          </a:xfrm>
          <a:prstGeom prst="rect">
            <a:avLst/>
          </a:prstGeom>
          <a:gradFill rotWithShape="0">
            <a:gsLst>
              <a:gs pos="0">
                <a:srgbClr val="CCCCFF"/>
              </a:gs>
              <a:gs pos="100000">
                <a:schemeClr val="bg1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</a:ln>
          <a:effectLst/>
        </p:spPr>
        <p:txBody>
          <a:bodyPr wrap="none" anchor="ctr"/>
          <a:lstStyle/>
          <a:p>
            <a:pPr marL="0" marR="0" lvl="0" indent="0" algn="l" defTabSz="455295" rtl="0" eaLnBrk="1" fontAlgn="base" latinLnBrk="0" hangingPunct="1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2800" b="1" i="0" u="sng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 风险</a:t>
            </a:r>
            <a:endParaRPr kumimoji="1" lang="ja-JP" altLang="en-US" sz="2800" b="1" i="0" u="sng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0" marR="0" lvl="0" indent="0" algn="l" defTabSz="455295" rtl="0" eaLnBrk="1" fontAlgn="base" latinLnBrk="0" hangingPunct="1">
              <a:lnSpc>
                <a:spcPct val="2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ja-JP" alt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●  </a:t>
            </a:r>
            <a:r>
              <a:rPr kumimoji="1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政策变动</a:t>
            </a:r>
            <a:r>
              <a:rPr kumimoji="1" lang="ja-JP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（</a:t>
            </a:r>
            <a:r>
              <a:rPr kumimoji="1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政治</a:t>
            </a:r>
            <a:r>
              <a:rPr kumimoji="1" lang="ja-JP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･</a:t>
            </a:r>
            <a:r>
              <a:rPr kumimoji="1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经济</a:t>
            </a:r>
            <a:r>
              <a:rPr kumimoji="1" lang="ja-JP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）</a:t>
            </a:r>
            <a:endParaRPr kumimoji="1" lang="ja-JP" alt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0" marR="0" lvl="0" indent="0" algn="l" defTabSz="455295" rtl="0" eaLnBrk="1" fontAlgn="base" latinLnBrk="0" hangingPunct="1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ja-JP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●  </a:t>
            </a:r>
            <a:r>
              <a:rPr kumimoji="1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灾害</a:t>
            </a:r>
            <a:endParaRPr kumimoji="1" lang="ja-JP" alt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0" marR="0" lvl="0" indent="0" algn="l" defTabSz="455295" rtl="0" eaLnBrk="1" fontAlgn="base" latinLnBrk="0" hangingPunct="1">
              <a:lnSpc>
                <a:spcPct val="16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ja-JP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      ◎ </a:t>
            </a:r>
            <a:r>
              <a:rPr kumimoji="1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火灾</a:t>
            </a:r>
            <a:endParaRPr kumimoji="1" lang="ja-JP" alt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0" marR="0" lvl="0" indent="0" algn="l" defTabSz="455295" rtl="0" eaLnBrk="1" fontAlgn="base" latinLnBrk="0" hangingPunct="1">
              <a:lnSpc>
                <a:spcPct val="16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ja-JP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      ◎ </a:t>
            </a:r>
            <a:r>
              <a:rPr kumimoji="1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水灾</a:t>
            </a:r>
            <a:endParaRPr kumimoji="1" lang="ja-JP" alt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0" marR="0" lvl="0" indent="0" algn="l" defTabSz="455295" rtl="0" eaLnBrk="1" fontAlgn="base" latinLnBrk="0" hangingPunct="1">
              <a:lnSpc>
                <a:spcPct val="16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ja-JP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      ◎ </a:t>
            </a:r>
            <a:r>
              <a:rPr kumimoji="1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地震</a:t>
            </a:r>
            <a:endParaRPr kumimoji="1" lang="ja-JP" alt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1508" name="AutoShape 163"/>
          <p:cNvSpPr/>
          <p:nvPr/>
        </p:nvSpPr>
        <p:spPr>
          <a:xfrm>
            <a:off x="1651000" y="5614988"/>
            <a:ext cx="577850" cy="4064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CCECFF"/>
          </a:solidFill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1" hangingPunct="1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509" name="Text Box 164"/>
          <p:cNvSpPr txBox="1"/>
          <p:nvPr/>
        </p:nvSpPr>
        <p:spPr>
          <a:xfrm>
            <a:off x="895350" y="5984875"/>
            <a:ext cx="2133600" cy="396875"/>
          </a:xfrm>
          <a:prstGeom prst="rect">
            <a:avLst/>
          </a:prstGeom>
          <a:noFill/>
          <a:ln w="9525">
            <a:noFill/>
          </a:ln>
        </p:spPr>
        <p:txBody>
          <a:bodyPr anchor="ctr">
            <a:spAutoFit/>
          </a:bodyPr>
          <a:lstStyle/>
          <a:p>
            <a:pPr lvl="0" algn="ctr" eaLnBrk="1" hangingPunct="1">
              <a:spcBef>
                <a:spcPct val="50000"/>
              </a:spcBef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贯彻防火对策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510" name="Rectangle 165"/>
          <p:cNvSpPr/>
          <p:nvPr/>
        </p:nvSpPr>
        <p:spPr>
          <a:xfrm>
            <a:off x="3705225" y="1844675"/>
            <a:ext cx="5861050" cy="4572000"/>
          </a:xfrm>
          <a:prstGeom prst="rect">
            <a:avLst/>
          </a:prstGeom>
          <a:noFill/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1" hangingPunct="1"/>
            <a:endParaRPr lang="ja-JP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/>
            <a:endParaRPr lang="ja-JP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742" name="Text Box 166"/>
          <p:cNvSpPr txBox="1">
            <a:spLocks noChangeArrowheads="1"/>
          </p:cNvSpPr>
          <p:nvPr/>
        </p:nvSpPr>
        <p:spPr bwMode="auto">
          <a:xfrm>
            <a:off x="6904038" y="1901825"/>
            <a:ext cx="2260600" cy="519113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>
            <a:sp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2800" b="1" i="0" u="sng" strike="noStrike" kern="1200" cap="none" spc="0" normalizeH="0" baseline="0" noProof="0">
                <a:ln>
                  <a:noFill/>
                </a:ln>
                <a:solidFill>
                  <a:srgbClr val="FF00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防火措施</a:t>
            </a:r>
            <a:endParaRPr kumimoji="1" lang="zh-CN" altLang="en-US" sz="2800" b="1" i="0" u="sng" strike="noStrike" kern="1200" cap="none" spc="0" normalizeH="0" baseline="0" noProof="0">
              <a:ln>
                <a:noFill/>
              </a:ln>
              <a:solidFill>
                <a:srgbClr val="FF0066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1512" name="AutoShape 167"/>
          <p:cNvSpPr/>
          <p:nvPr/>
        </p:nvSpPr>
        <p:spPr>
          <a:xfrm>
            <a:off x="3879850" y="4114800"/>
            <a:ext cx="5365750" cy="18288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CCFFCC"/>
              </a:gs>
              <a:gs pos="100000">
                <a:schemeClr val="bg1"/>
              </a:gs>
            </a:gsLst>
            <a:path path="shape">
              <a:fillToRect l="50000" t="50000" r="50000" b="50000"/>
            </a:path>
            <a:tileRect/>
          </a:gradFill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１．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总社要求实施并充实综合检查，日常检查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２．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防火体系的不断完全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･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避难线路的确认</a:t>
            </a:r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･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高意识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３．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充实的训练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･ </a:t>
            </a:r>
            <a:r>
              <a:rPr lang="zh-CN" altLang="en-US" sz="1600" b="1" u="sng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避难演习</a:t>
            </a:r>
            <a:r>
              <a:rPr lang="ja-JP" altLang="en-US" sz="1600" b="1" u="sng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1600" b="1" u="sng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2次</a:t>
            </a:r>
            <a:r>
              <a:rPr lang="ja-JP" altLang="en-US" sz="1600" b="1" u="sng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･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灭火训练</a:t>
            </a:r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　 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・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监督者安全教育</a:t>
            </a:r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年</a:t>
            </a:r>
            <a:r>
              <a:rPr lang="en-US" altLang="ja-JP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回）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744" name="Text Box 168"/>
          <p:cNvSpPr txBox="1">
            <a:spLocks noChangeArrowheads="1"/>
          </p:cNvSpPr>
          <p:nvPr/>
        </p:nvSpPr>
        <p:spPr bwMode="auto">
          <a:xfrm>
            <a:off x="4084638" y="3657600"/>
            <a:ext cx="1527175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anchor="ctr">
            <a:sp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2400" b="1" i="0" u="none" strike="noStrike" kern="1200" cap="none" spc="0" normalizeH="0" baseline="0" noProof="0">
                <a:ln>
                  <a:noFill/>
                </a:ln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体系推进</a:t>
            </a:r>
            <a:endParaRPr kumimoji="1" lang="zh-CN" altLang="en-US" sz="2400" b="1" i="0" u="none" strike="noStrike" kern="1200" cap="none" spc="0" normalizeH="0" baseline="0" noProof="0">
              <a:ln>
                <a:noFill/>
              </a:ln>
              <a:solidFill>
                <a:srgbClr val="339966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4745" name="Text Box 169"/>
          <p:cNvSpPr txBox="1">
            <a:spLocks noChangeArrowheads="1"/>
          </p:cNvSpPr>
          <p:nvPr/>
        </p:nvSpPr>
        <p:spPr bwMode="auto">
          <a:xfrm>
            <a:off x="4003675" y="2041525"/>
            <a:ext cx="2900363" cy="396875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>
            <a:sp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风险对应</a:t>
            </a:r>
            <a:r>
              <a:rPr kumimoji="1" lang="ja-JP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（</a:t>
            </a:r>
            <a:r>
              <a:rPr kumimoji="1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基础配备</a:t>
            </a:r>
            <a:r>
              <a:rPr kumimoji="1" lang="ja-JP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99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）</a:t>
            </a:r>
            <a:endParaRPr kumimoji="1" lang="ja-JP" altLang="en-US" sz="2000" b="1" i="0" u="none" strike="noStrike" kern="1200" cap="none" spc="0" normalizeH="0" baseline="0" noProof="0">
              <a:ln>
                <a:noFill/>
              </a:ln>
              <a:solidFill>
                <a:srgbClr val="FF9900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1515" name="AutoShape 170"/>
          <p:cNvSpPr/>
          <p:nvPr/>
        </p:nvSpPr>
        <p:spPr>
          <a:xfrm>
            <a:off x="247650" y="1011238"/>
            <a:ext cx="9410700" cy="762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CCECFF"/>
              </a:gs>
              <a:gs pos="100000">
                <a:schemeClr val="bg1"/>
              </a:gs>
            </a:gsLst>
            <a:lin ang="5400000" scaled="1"/>
            <a:tileRect/>
          </a:gradFill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1" hangingPunct="1"/>
            <a:r>
              <a:rPr lang="ja-JP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１．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灾害风险（特别是火灾）采取彻底防范的措施</a:t>
            </a:r>
            <a:endParaRPr lang="ja-JP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>
              <a:lnSpc>
                <a:spcPct val="120000"/>
              </a:lnSpc>
            </a:pPr>
            <a:r>
              <a:rPr lang="ja-JP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２．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构筑发生灾害时将受灾程度控制在最小的体制</a:t>
            </a:r>
            <a:endParaRPr lang="ja-JP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516" name="Text Box 171"/>
          <p:cNvSpPr/>
          <p:nvPr/>
        </p:nvSpPr>
        <p:spPr>
          <a:xfrm>
            <a:off x="0" y="144463"/>
            <a:ext cx="2535238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险管理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517" name="Rectangle 172"/>
          <p:cNvSpPr/>
          <p:nvPr/>
        </p:nvSpPr>
        <p:spPr>
          <a:xfrm>
            <a:off x="742950" y="4178300"/>
            <a:ext cx="1485900" cy="381000"/>
          </a:xfrm>
          <a:prstGeom prst="rect">
            <a:avLst/>
          </a:prstGeom>
          <a:noFill/>
          <a:ln w="38100" cap="flat" cmpd="sng">
            <a:solidFill>
              <a:srgbClr val="CC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1" hangingPunct="1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518" name="AutoShape 173"/>
          <p:cNvSpPr/>
          <p:nvPr/>
        </p:nvSpPr>
        <p:spPr>
          <a:xfrm>
            <a:off x="3962400" y="2438400"/>
            <a:ext cx="5365750" cy="114300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FFFF99"/>
              </a:gs>
              <a:gs pos="100000">
                <a:schemeClr val="bg1"/>
              </a:gs>
            </a:gsLst>
            <a:path path="shape">
              <a:fillToRect l="50000" t="50000" r="50000" b="50000"/>
            </a:path>
            <a:tileRect/>
          </a:gradFill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lstStyle/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１．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紧急发电机的配备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２．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防尘车间火灾的对应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　　・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装高灵敏度感应器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eaLnBrk="1" hangingPunct="1"/>
            <a:r>
              <a:rPr lang="ja-JP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３．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员配备防灾手册</a:t>
            </a:r>
            <a:endParaRPr lang="ja-JP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3"/>
          <p:cNvSpPr txBox="1"/>
          <p:nvPr/>
        </p:nvSpPr>
        <p:spPr>
          <a:xfrm>
            <a:off x="509588" y="1497013"/>
            <a:ext cx="574675" cy="3841750"/>
          </a:xfrm>
          <a:prstGeom prst="rect">
            <a:avLst/>
          </a:prstGeom>
          <a:noFill/>
          <a:ln w="9525">
            <a:noFill/>
          </a:ln>
        </p:spPr>
        <p:txBody>
          <a:bodyPr vert="eaVert" anchor="ctr">
            <a:spAutoFit/>
          </a:bodyPr>
          <a:lstStyle/>
          <a:p>
            <a:pPr lvl="0" algn="ctr" eaLnBrk="1" hangingPunct="1">
              <a:spcBef>
                <a:spcPct val="50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防尘室</a:t>
            </a:r>
            <a:r>
              <a:rPr lang="ja-JP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・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晚间避难演习</a:t>
            </a:r>
            <a:endParaRPr lang="ja-JP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2531" name="Picture 4" descr="避難１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36675" y="930275"/>
            <a:ext cx="7712075" cy="53355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2532" name="Text Box 5"/>
          <p:cNvSpPr/>
          <p:nvPr/>
        </p:nvSpPr>
        <p:spPr>
          <a:xfrm>
            <a:off x="0" y="144463"/>
            <a:ext cx="2768600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险管理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533" name="Rectangle 6"/>
          <p:cNvSpPr/>
          <p:nvPr/>
        </p:nvSpPr>
        <p:spPr>
          <a:xfrm>
            <a:off x="1857375" y="2200275"/>
            <a:ext cx="9906000" cy="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/>
            <a:endParaRPr lang="zh-CN" altLang="en-US" dirty="0">
              <a:latin typeface="Arial" panose="020B0604020202020204" pitchFamily="34" charset="0"/>
              <a:ea typeface="ヒラギノ角ゴ Pro W3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标题 69633"/>
          <p:cNvSpPr>
            <a:spLocks noGrp="1"/>
          </p:cNvSpPr>
          <p:nvPr>
            <p:ph type="title"/>
          </p:nvPr>
        </p:nvSpPr>
        <p:spPr>
          <a:xfrm>
            <a:off x="290513" y="220663"/>
            <a:ext cx="9329737" cy="431800"/>
          </a:xfrm>
        </p:spPr>
        <p:txBody>
          <a:bodyPr lIns="91438" tIns="45718" rIns="91438" bIns="45718" anchor="ctr"/>
          <a:lstStyle/>
          <a:p>
            <a:pPr defTabSz="455295"/>
            <a:r>
              <a:rPr kumimoji="1" lang="zh-CN" altLang="en-US" sz="4000" kern="1200" dirty="0">
                <a:latin typeface="+mj-lt"/>
                <a:ea typeface="新宋体" panose="02010609030101010101" pitchFamily="49" charset="-122"/>
                <a:cs typeface="MS PGothic" panose="020B0600070205080204" pitchFamily="34" charset="-128"/>
              </a:rPr>
              <a:t>醉美苏州</a:t>
            </a:r>
            <a:endParaRPr kumimoji="1" lang="zh-CN" altLang="en-US" sz="4000" kern="1200" dirty="0">
              <a:latin typeface="+mj-lt"/>
              <a:ea typeface="新宋体" panose="02010609030101010101" pitchFamily="49" charset="-122"/>
              <a:cs typeface="MS PGothic" panose="020B0600070205080204" pitchFamily="34" charset="-128"/>
            </a:endParaRPr>
          </a:p>
        </p:txBody>
      </p:sp>
      <p:sp>
        <p:nvSpPr>
          <p:cNvPr id="69635" name="文本占位符 69634"/>
          <p:cNvSpPr>
            <a:spLocks noGrp="1"/>
          </p:cNvSpPr>
          <p:nvPr>
            <p:ph type="body" idx="1"/>
          </p:nvPr>
        </p:nvSpPr>
        <p:spPr>
          <a:xfrm>
            <a:off x="495300" y="1257300"/>
            <a:ext cx="8915400" cy="4525963"/>
          </a:xfrm>
          <a:noFill/>
          <a:ln>
            <a:noFill/>
          </a:ln>
        </p:spPr>
        <p:txBody>
          <a:bodyPr/>
          <a:lstStyle/>
          <a:p>
            <a:pPr defTabSz="455295">
              <a:buFont typeface="Arial" panose="020B0604020202020204" pitchFamily="34" charset="0"/>
              <a:buNone/>
            </a:pPr>
            <a:r>
              <a:rPr kumimoji="1" lang="zh-CN" altLang="en-US" kern="1200" dirty="0">
                <a:latin typeface="+mn-lt"/>
                <a:ea typeface="MS PGothic" panose="020B0600070205080204" pitchFamily="34" charset="-128"/>
                <a:cs typeface="MS PGothic" panose="020B0600070205080204" pitchFamily="34" charset="-128"/>
              </a:rPr>
              <a:t>烟雨江南在苏州</a:t>
            </a:r>
            <a:endParaRPr kumimoji="1" lang="zh-CN" altLang="en-US" kern="1200" dirty="0">
              <a:latin typeface="+mn-lt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pic>
        <p:nvPicPr>
          <p:cNvPr id="69637" name="图片 69636" descr="664777~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990600"/>
            <a:ext cx="9753600" cy="487680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3" descr="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1463" y="1052513"/>
            <a:ext cx="4759325" cy="29527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3555" name="Text Box 4"/>
          <p:cNvSpPr/>
          <p:nvPr/>
        </p:nvSpPr>
        <p:spPr>
          <a:xfrm>
            <a:off x="0" y="157163"/>
            <a:ext cx="3079750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福利设施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556" name="Text Box 5"/>
          <p:cNvSpPr txBox="1"/>
          <p:nvPr/>
        </p:nvSpPr>
        <p:spPr>
          <a:xfrm>
            <a:off x="5888038" y="1628775"/>
            <a:ext cx="2886075" cy="16160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 eaLnBrk="1" hangingPunct="1">
              <a:spcBef>
                <a:spcPct val="50000"/>
              </a:spcBef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食堂</a:t>
            </a:r>
            <a:endParaRPr lang="ja-JP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algn="ctr" eaLnBrk="1" hangingPunct="1">
              <a:spcBef>
                <a:spcPct val="50000"/>
              </a:spcBef>
            </a:pPr>
            <a:r>
              <a:rPr lang="ja-JP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同时容纳</a:t>
            </a:r>
            <a:r>
              <a:rPr lang="en-US" altLang="ja-JP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400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名，免费提供食物，每餐有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品种可供选择</a:t>
            </a:r>
            <a:r>
              <a:rPr lang="ja-JP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ja-JP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557" name="Picture 7" descr="910300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0163" y="3429000"/>
            <a:ext cx="4367212" cy="30241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3558" name="Text Box 8"/>
          <p:cNvSpPr txBox="1"/>
          <p:nvPr/>
        </p:nvSpPr>
        <p:spPr>
          <a:xfrm>
            <a:off x="428625" y="4089400"/>
            <a:ext cx="3822700" cy="579438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 eaLnBrk="1" hangingPunct="1">
              <a:spcBef>
                <a:spcPct val="50000"/>
              </a:spcBef>
            </a:pPr>
            <a:r>
              <a:rPr lang="ja-JP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　務　室</a:t>
            </a:r>
            <a:endParaRPr lang="ja-JP" altLang="en-US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ext Box 3"/>
          <p:cNvSpPr txBox="1"/>
          <p:nvPr/>
        </p:nvSpPr>
        <p:spPr>
          <a:xfrm>
            <a:off x="974725" y="5983288"/>
            <a:ext cx="8007350" cy="3841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 eaLnBrk="1" hangingPunct="1">
              <a:spcBef>
                <a:spcPct val="50000"/>
              </a:spcBef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丰富的志愿者活动，尽优秀企业市民的社会责任</a:t>
            </a:r>
            <a:r>
              <a:rPr lang="ja-JP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ja-JP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4579" name="Group 10"/>
          <p:cNvGrpSpPr/>
          <p:nvPr/>
        </p:nvGrpSpPr>
        <p:grpSpPr>
          <a:xfrm>
            <a:off x="5010150" y="2387600"/>
            <a:ext cx="4483100" cy="3359150"/>
            <a:chOff x="2925" y="572"/>
            <a:chExt cx="2586" cy="1672"/>
          </a:xfrm>
        </p:grpSpPr>
        <p:pic>
          <p:nvPicPr>
            <p:cNvPr id="24584" name="Picture 11" descr="05-1"/>
            <p:cNvPicPr>
              <a:picLocks noChangeAspect="1"/>
            </p:cNvPicPr>
            <p:nvPr/>
          </p:nvPicPr>
          <p:blipFill>
            <a:blip r:embed="rId1"/>
            <a:srcRect l="8157" t="18108" r="2386" b="6718"/>
            <a:stretch>
              <a:fillRect/>
            </a:stretch>
          </p:blipFill>
          <p:spPr>
            <a:xfrm>
              <a:off x="2925" y="572"/>
              <a:ext cx="2586" cy="1566"/>
            </a:xfrm>
            <a:prstGeom prst="rect">
              <a:avLst/>
            </a:prstGeom>
            <a:noFill/>
            <a:ln w="9525" cap="flat" cmpd="sng">
              <a:solidFill>
                <a:srgbClr val="0000FF"/>
              </a:solidFill>
              <a:prstDash val="solid"/>
              <a:miter/>
              <a:headEnd type="none" w="med" len="med"/>
              <a:tailEnd type="none" w="med" len="med"/>
            </a:ln>
            <a:effectLst>
              <a:outerShdw dist="107763" dir="2699999" algn="ctr" rotWithShape="0">
                <a:srgbClr val="808080">
                  <a:alpha val="50000"/>
                </a:srgbClr>
              </a:outerShdw>
            </a:effectLst>
          </p:spPr>
        </p:pic>
        <p:sp>
          <p:nvSpPr>
            <p:cNvPr id="24585" name="Text Box 12"/>
            <p:cNvSpPr txBox="1"/>
            <p:nvPr/>
          </p:nvSpPr>
          <p:spPr>
            <a:xfrm>
              <a:off x="2925" y="1979"/>
              <a:ext cx="2586" cy="265"/>
            </a:xfrm>
            <a:prstGeom prst="rect">
              <a:avLst/>
            </a:prstGeom>
            <a:solidFill>
              <a:srgbClr val="FFFFCC"/>
            </a:solidFill>
            <a:ln w="952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  <a:effectLst>
              <a:outerShdw dist="107763" dir="2699999" algn="ctr" rotWithShape="0">
                <a:schemeClr val="bg2">
                  <a:alpha val="50000"/>
                </a:schemeClr>
              </a:outerShdw>
            </a:effectLst>
          </p:spPr>
          <p:txBody>
            <a:bodyPr>
              <a:spAutoFit/>
            </a:bodyPr>
            <a:lstStyle/>
            <a:p>
              <a:pPr lvl="0" eaLnBrk="1" hangingPunct="1">
                <a:spcBef>
                  <a:spcPct val="50000"/>
                </a:spcBef>
              </a:pPr>
              <a:r>
                <a:rPr lang="en-US" altLang="zh-CN" sz="1400" b="1" dirty="0">
                  <a:solidFill>
                    <a:srgbClr val="0000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0.5.21“</a:t>
              </a:r>
              <a:r>
                <a:rPr lang="zh-CN" altLang="en-US" sz="1400" b="1" dirty="0">
                  <a:solidFill>
                    <a:srgbClr val="0000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国残疾人工作示范城市”创建工作研讨会 中国残联、各省市残联领导来公司调研</a:t>
              </a:r>
              <a:endParaRPr lang="zh-CN" altLang="en-US" sz="1400" b="1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4580" name="Group 13"/>
          <p:cNvGrpSpPr/>
          <p:nvPr/>
        </p:nvGrpSpPr>
        <p:grpSpPr>
          <a:xfrm>
            <a:off x="177800" y="1092200"/>
            <a:ext cx="4483100" cy="3898900"/>
            <a:chOff x="249" y="2341"/>
            <a:chExt cx="2587" cy="2790"/>
          </a:xfrm>
        </p:grpSpPr>
        <p:sp>
          <p:nvSpPr>
            <p:cNvPr id="24582" name="Text Box 14"/>
            <p:cNvSpPr txBox="1"/>
            <p:nvPr/>
          </p:nvSpPr>
          <p:spPr>
            <a:xfrm>
              <a:off x="249" y="2341"/>
              <a:ext cx="998" cy="1541"/>
            </a:xfrm>
            <a:prstGeom prst="rect">
              <a:avLst/>
            </a:prstGeom>
            <a:solidFill>
              <a:srgbClr val="FFFFCC"/>
            </a:solidFill>
            <a:ln w="952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  <a:effectLst>
              <a:outerShdw dist="107763" dir="2699999" algn="ctr" rotWithShape="0">
                <a:schemeClr val="bg2">
                  <a:alpha val="50000"/>
                </a:schemeClr>
              </a:outerShdw>
            </a:effectLst>
          </p:spPr>
          <p:txBody>
            <a:bodyPr>
              <a:spAutoFit/>
            </a:bodyPr>
            <a:lstStyle/>
            <a:p>
              <a:pPr lvl="0" eaLnBrk="1" hangingPunct="1">
                <a:lnSpc>
                  <a:spcPct val="113000"/>
                </a:lnSpc>
                <a:spcBef>
                  <a:spcPct val="50000"/>
                </a:spcBef>
              </a:pPr>
              <a:r>
                <a:rPr lang="zh-CN" altLang="en-US" sz="1500" b="1" dirty="0">
                  <a:solidFill>
                    <a:srgbClr val="0000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自</a:t>
              </a:r>
              <a:r>
                <a:rPr lang="en-US" altLang="zh-CN" sz="1500" b="1" dirty="0">
                  <a:solidFill>
                    <a:srgbClr val="0000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996</a:t>
              </a:r>
              <a:r>
                <a:rPr lang="zh-CN" altLang="en-US" sz="1500" b="1" dirty="0">
                  <a:solidFill>
                    <a:srgbClr val="0000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成立起，就将“让残疾人和健康人和谐相处，给残疾人提供一个正常的工作生活环境”作为企业关爱当地社会的重要准则。</a:t>
              </a:r>
              <a:endParaRPr lang="ja-JP" altLang="en-US" sz="1500" b="1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24583" name="Picture 1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92" y="2341"/>
              <a:ext cx="1544" cy="2790"/>
            </a:xfrm>
            <a:prstGeom prst="rect">
              <a:avLst/>
            </a:prstGeom>
            <a:noFill/>
            <a:ln w="9525" cap="flat" cmpd="sng">
              <a:solidFill>
                <a:srgbClr val="0000FF"/>
              </a:solidFill>
              <a:prstDash val="solid"/>
              <a:miter/>
              <a:headEnd type="none" w="med" len="med"/>
              <a:tailEnd type="none" w="med" len="med"/>
            </a:ln>
            <a:effectLst>
              <a:outerShdw dist="107763" dir="2699999" algn="ctr" rotWithShape="0">
                <a:srgbClr val="808080">
                  <a:alpha val="50000"/>
                </a:srgbClr>
              </a:outerShdw>
            </a:effectLst>
          </p:spPr>
        </p:pic>
      </p:grpSp>
      <p:sp>
        <p:nvSpPr>
          <p:cNvPr id="24581" name="Rectangle 23"/>
          <p:cNvSpPr/>
          <p:nvPr/>
        </p:nvSpPr>
        <p:spPr>
          <a:xfrm>
            <a:off x="82550" y="141288"/>
            <a:ext cx="2571750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区贡献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147772" y="4085843"/>
            <a:ext cx="4177123" cy="2356862"/>
          </a:xfrm>
          <a:prstGeom prst="rect">
            <a:avLst/>
          </a:prstGeom>
          <a:noFill/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</p:pic>
      <p:sp>
        <p:nvSpPr>
          <p:cNvPr id="25603" name="标题 1"/>
          <p:cNvSpPr>
            <a:spLocks noGrp="1"/>
          </p:cNvSpPr>
          <p:nvPr>
            <p:ph type="title"/>
          </p:nvPr>
        </p:nvSpPr>
        <p:spPr>
          <a:xfrm>
            <a:off x="392113" y="133350"/>
            <a:ext cx="2566987" cy="612775"/>
          </a:xfrm>
        </p:spPr>
        <p:txBody>
          <a:bodyPr vert="horz" wrap="square" lIns="91438" tIns="45718" rIns="91438" bIns="45718" anchor="ctr">
            <a:spAutoFit/>
          </a:bodyPr>
          <a:lstStyle/>
          <a:p>
            <a:pPr defTabSz="455295" eaLnBrk="1" hangingPunct="1">
              <a:spcBef>
                <a:spcPct val="50000"/>
              </a:spcBef>
            </a:pPr>
            <a:r>
              <a:rPr lang="zh-CN" altLang="en-US" sz="32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志愿者活动</a:t>
            </a:r>
            <a:endParaRPr lang="zh-CN" altLang="en-US" sz="32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128176" y="907366"/>
            <a:ext cx="5091437" cy="3003874"/>
            <a:chOff x="3016" y="2341"/>
            <a:chExt cx="2631" cy="1682"/>
          </a:xfrm>
          <a:effectLst>
            <a:glow rad="139700">
              <a:schemeClr val="accent5">
                <a:satMod val="175000"/>
                <a:alpha val="40000"/>
              </a:schemeClr>
            </a:glow>
          </a:effectLst>
        </p:grpSpPr>
        <p:pic>
          <p:nvPicPr>
            <p:cNvPr id="5" name="Picture 5"/>
            <p:cNvPicPr>
              <a:picLocks noChangeAspect="1" noChangeArrowheads="1"/>
            </p:cNvPicPr>
            <p:nvPr/>
          </p:nvPicPr>
          <p:blipFill>
            <a:blip r:embed="rId2"/>
            <a:srcRect l="273" t="633" r="1582"/>
            <a:stretch>
              <a:fillRect/>
            </a:stretch>
          </p:blipFill>
          <p:spPr bwMode="auto">
            <a:xfrm>
              <a:off x="3016" y="2341"/>
              <a:ext cx="2631" cy="1679"/>
            </a:xfrm>
            <a:prstGeom prst="rect">
              <a:avLst/>
            </a:prstGeom>
            <a:noFill/>
            <a:ln w="9525" algn="ctr">
              <a:solidFill>
                <a:srgbClr val="0000FF"/>
              </a:solidFill>
              <a:miter lim="800000"/>
              <a:headEnd/>
              <a:tailEnd/>
            </a:ln>
            <a:effectLst/>
          </p:spPr>
        </p:pic>
        <p:sp>
          <p:nvSpPr>
            <p:cNvPr id="6" name="Text Box 6"/>
            <p:cNvSpPr txBox="1">
              <a:spLocks noChangeAspect="1" noChangeArrowheads="1"/>
            </p:cNvSpPr>
            <p:nvPr/>
          </p:nvSpPr>
          <p:spPr bwMode="auto">
            <a:xfrm>
              <a:off x="3016" y="3838"/>
              <a:ext cx="2631" cy="185"/>
            </a:xfrm>
            <a:prstGeom prst="rect">
              <a:avLst/>
            </a:prstGeom>
            <a:solidFill>
              <a:srgbClr val="FFFFCC"/>
            </a:solidFill>
            <a:ln w="9525">
              <a:solidFill>
                <a:schemeClr val="tx1"/>
              </a:solidFill>
              <a:miter lim="800000"/>
            </a:ln>
            <a:effectLst/>
          </p:spPr>
          <p:txBody>
            <a:bodyPr>
              <a:spAutoFit/>
            </a:bodyPr>
            <a:lstStyle/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灵岩山 环境保护 </a:t>
              </a:r>
              <a:r>
                <a:rPr kumimoji="1" lang="zh-CN" altLang="ja-JP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志愿者活动</a:t>
              </a:r>
              <a:r>
                <a:rPr kumimoji="1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（</a:t>
              </a:r>
              <a:r>
                <a:rPr kumimoji="1" lang="en-US" altLang="zh-CN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09.5</a:t>
              </a:r>
              <a:r>
                <a:rPr kumimoji="1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）</a:t>
              </a:r>
              <a:endParaRPr kumimoji="1" lang="ja-JP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ヒラギノ角ゴ Pro W3"/>
              </a:endParaRPr>
            </a:p>
          </p:txBody>
        </p:sp>
      </p:grpSp>
      <p:grpSp>
        <p:nvGrpSpPr>
          <p:cNvPr id="3" name="Group 7"/>
          <p:cNvGrpSpPr/>
          <p:nvPr/>
        </p:nvGrpSpPr>
        <p:grpSpPr bwMode="auto">
          <a:xfrm>
            <a:off x="5370327" y="2235832"/>
            <a:ext cx="4338850" cy="3340100"/>
            <a:chOff x="2976" y="2400"/>
            <a:chExt cx="2400" cy="1537"/>
          </a:xfrm>
          <a:effectLst>
            <a:glow rad="139700">
              <a:schemeClr val="accent2">
                <a:satMod val="175000"/>
                <a:alpha val="40000"/>
              </a:schemeClr>
            </a:glow>
          </a:effectLst>
        </p:grpSpPr>
        <p:pic>
          <p:nvPicPr>
            <p:cNvPr id="8" name="Picture 8"/>
            <p:cNvPicPr>
              <a:picLocks noChangeAspect="1" noChangeArrowheads="1"/>
            </p:cNvPicPr>
            <p:nvPr/>
          </p:nvPicPr>
          <p:blipFill>
            <a:blip r:embed="rId3"/>
            <a:srcRect l="1814" r="2135"/>
            <a:stretch>
              <a:fillRect/>
            </a:stretch>
          </p:blipFill>
          <p:spPr bwMode="auto">
            <a:xfrm>
              <a:off x="2976" y="2400"/>
              <a:ext cx="2400" cy="1360"/>
            </a:xfrm>
            <a:prstGeom prst="rect">
              <a:avLst/>
            </a:prstGeom>
            <a:noFill/>
            <a:ln w="9525">
              <a:solidFill>
                <a:srgbClr val="0000FF"/>
              </a:solidFill>
              <a:miter lim="800000"/>
              <a:headEnd/>
              <a:tailEnd/>
            </a:ln>
          </p:spPr>
        </p:pic>
        <p:sp>
          <p:nvSpPr>
            <p:cNvPr id="9" name="Text Box 9"/>
            <p:cNvSpPr txBox="1">
              <a:spLocks noChangeAspect="1" noChangeArrowheads="1"/>
            </p:cNvSpPr>
            <p:nvPr/>
          </p:nvSpPr>
          <p:spPr bwMode="auto">
            <a:xfrm>
              <a:off x="2978" y="3758"/>
              <a:ext cx="2398" cy="179"/>
            </a:xfrm>
            <a:prstGeom prst="rect">
              <a:avLst/>
            </a:prstGeom>
            <a:solidFill>
              <a:srgbClr val="FFFFCC"/>
            </a:solidFill>
            <a:ln w="9525">
              <a:solidFill>
                <a:schemeClr val="tx1"/>
              </a:solidFill>
              <a:miter lim="800000"/>
            </a:ln>
            <a:effectLst/>
          </p:spPr>
          <p:txBody>
            <a:bodyPr/>
            <a:lstStyle/>
            <a:p>
              <a:pPr marL="0" marR="0" lvl="0" indent="0" algn="l" defTabSz="4552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老年公寓 关怀老人 </a:t>
              </a:r>
              <a:r>
                <a:rPr kumimoji="1" lang="zh-CN" altLang="ja-JP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志愿者活动</a:t>
              </a:r>
              <a:r>
                <a:rPr kumimoji="1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（</a:t>
              </a:r>
              <a:r>
                <a:rPr kumimoji="1" lang="en-US" altLang="zh-CN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10.11</a:t>
              </a:r>
              <a:r>
                <a:rPr kumimoji="1" lang="zh-CN" alt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宋体" panose="02010600030101010101" pitchFamily="2" charset="-122"/>
                  <a:ea typeface="宋体" panose="02010600030101010101" pitchFamily="2" charset="-122"/>
                  <a:cs typeface="ヒラギノ角ゴ Pro W3"/>
                </a:rPr>
                <a:t>）</a:t>
              </a:r>
              <a:endParaRPr kumimoji="1" lang="ja-JP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ヒラギノ角ゴ Pro W3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AutoShape 3"/>
          <p:cNvSpPr>
            <a:spLocks noChangeArrowheads="1"/>
          </p:cNvSpPr>
          <p:nvPr/>
        </p:nvSpPr>
        <p:spPr bwMode="auto">
          <a:xfrm>
            <a:off x="5054600" y="777875"/>
            <a:ext cx="4749800" cy="1660525"/>
          </a:xfrm>
          <a:prstGeom prst="cloudCallout">
            <a:avLst>
              <a:gd name="adj1" fmla="val -56106"/>
              <a:gd name="adj2" fmla="val 82685"/>
            </a:avLst>
          </a:prstGeom>
          <a:gradFill rotWithShape="0">
            <a:gsLst>
              <a:gs pos="0">
                <a:srgbClr val="CCE1EA"/>
              </a:gs>
              <a:gs pos="50000">
                <a:schemeClr val="bg1"/>
              </a:gs>
              <a:gs pos="100000">
                <a:srgbClr val="CCE1EA"/>
              </a:gs>
            </a:gsLst>
            <a:lin ang="5400000" scaled="1"/>
          </a:gradFill>
          <a:ln w="12700">
            <a:solidFill>
              <a:schemeClr val="tx1"/>
            </a:solidFill>
            <a:round/>
          </a:ln>
          <a:effectLst/>
        </p:spPr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旅游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、</a:t>
            </a:r>
            <a:r>
              <a:rPr kumimoji="1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比赛等各种活动及福利措施，创造以人为本的企业文化。</a:t>
            </a:r>
            <a:endParaRPr kumimoji="1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pic>
        <p:nvPicPr>
          <p:cNvPr id="26627" name="Picture 4"/>
          <p:cNvPicPr>
            <a:picLocks noChangeAspect="1"/>
          </p:cNvPicPr>
          <p:nvPr/>
        </p:nvPicPr>
        <p:blipFill>
          <a:blip r:embed="rId1"/>
          <a:srcRect t="3757"/>
          <a:stretch>
            <a:fillRect/>
          </a:stretch>
        </p:blipFill>
        <p:spPr>
          <a:xfrm>
            <a:off x="336550" y="927100"/>
            <a:ext cx="4105275" cy="2314575"/>
          </a:xfrm>
          <a:prstGeom prst="rect">
            <a:avLst/>
          </a:prstGeom>
          <a:noFill/>
          <a:ln w="9525" cap="flat" cmpd="sng">
            <a:solidFill>
              <a:srgbClr val="0000FF"/>
            </a:solidFill>
            <a:prstDash val="solid"/>
            <a:miter/>
            <a:headEnd type="none" w="med" len="med"/>
            <a:tailEnd type="none" w="med" len="med"/>
          </a:ln>
        </p:spPr>
      </p:pic>
      <p:sp>
        <p:nvSpPr>
          <p:cNvPr id="26628" name="Text Box 5"/>
          <p:cNvSpPr txBox="1">
            <a:spLocks noChangeAspect="1"/>
          </p:cNvSpPr>
          <p:nvPr/>
        </p:nvSpPr>
        <p:spPr>
          <a:xfrm>
            <a:off x="336550" y="3241675"/>
            <a:ext cx="4105275" cy="284163"/>
          </a:xfrm>
          <a:prstGeom prst="rect">
            <a:avLst/>
          </a:prstGeom>
          <a:solidFill>
            <a:srgbClr val="FFFFCC"/>
          </a:solidFill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1200" b="1" dirty="0">
                <a:solidFill>
                  <a:srgbClr val="0000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工会旅游活动</a:t>
            </a:r>
            <a:endParaRPr lang="ja-JP" altLang="en-US" sz="1200" b="1" dirty="0">
              <a:solidFill>
                <a:srgbClr val="0000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6629" name="Rectangle 23"/>
          <p:cNvSpPr/>
          <p:nvPr/>
        </p:nvSpPr>
        <p:spPr>
          <a:xfrm>
            <a:off x="82550" y="131763"/>
            <a:ext cx="8172450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项活动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630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775" y="3525838"/>
            <a:ext cx="4083050" cy="2260600"/>
          </a:xfrm>
          <a:prstGeom prst="rect">
            <a:avLst/>
          </a:prstGeom>
          <a:noFill/>
          <a:ln w="19050" cap="flat" cmpd="sng">
            <a:solidFill>
              <a:srgbClr val="0000FF"/>
            </a:solidFill>
            <a:prstDash val="solid"/>
            <a:miter/>
            <a:headEnd type="none" w="med" len="med"/>
            <a:tailEnd type="none" w="med" len="med"/>
          </a:ln>
        </p:spPr>
      </p:pic>
      <p:sp>
        <p:nvSpPr>
          <p:cNvPr id="26631" name="Text Box 13"/>
          <p:cNvSpPr txBox="1">
            <a:spLocks noChangeAspect="1"/>
          </p:cNvSpPr>
          <p:nvPr/>
        </p:nvSpPr>
        <p:spPr>
          <a:xfrm>
            <a:off x="336550" y="5813425"/>
            <a:ext cx="4105275" cy="284163"/>
          </a:xfrm>
          <a:prstGeom prst="rect">
            <a:avLst/>
          </a:prstGeom>
          <a:solidFill>
            <a:srgbClr val="FFFFCC"/>
          </a:solidFill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1200" b="1" dirty="0">
                <a:solidFill>
                  <a:srgbClr val="0000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国庆嘉年华活动</a:t>
            </a:r>
            <a:endParaRPr lang="zh-CN" altLang="en-US" sz="1200" b="1" dirty="0">
              <a:solidFill>
                <a:srgbClr val="0000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965700" y="5954713"/>
            <a:ext cx="3835400" cy="277813"/>
          </a:xfrm>
          <a:prstGeom prst="rect">
            <a:avLst/>
          </a:prstGeom>
          <a:solidFill>
            <a:srgbClr val="F2F4AA"/>
          </a:solidFill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+mn-ea"/>
                <a:ea typeface="+mn-ea"/>
                <a:cs typeface="ヒラギノ角ゴ Pro W3"/>
              </a:rPr>
              <a:t>拓展训练</a:t>
            </a:r>
            <a:endParaRPr kumimoji="1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+mn-ea"/>
              <a:ea typeface="+mn-ea"/>
              <a:cs typeface="ヒラギノ角ゴ Pro W3"/>
            </a:endParaRPr>
          </a:p>
        </p:txBody>
      </p:sp>
      <p:sp>
        <p:nvSpPr>
          <p:cNvPr id="26633" name="Shape 522"/>
          <p:cNvSpPr/>
          <p:nvPr/>
        </p:nvSpPr>
        <p:spPr>
          <a:xfrm>
            <a:off x="5054600" y="2605088"/>
            <a:ext cx="3916363" cy="3181350"/>
          </a:xfrm>
          <a:prstGeom prst="rect">
            <a:avLst/>
          </a:prstGeom>
          <a:blipFill rotWithShape="1">
            <a:blip r:embed="rId3"/>
            <a:stretch>
              <a:fillRect/>
            </a:stretch>
          </a:blipFill>
          <a:ln w="9525">
            <a:noFill/>
          </a:ln>
        </p:spPr>
        <p:txBody>
          <a:bodyPr/>
          <a:lstStyle/>
          <a:p>
            <a:pPr lvl="0" eaLnBrk="1" hangingPunct="1"/>
            <a:endParaRPr lang="zh-CN" altLang="en-US" dirty="0">
              <a:latin typeface="Arial" panose="020B0604020202020204" pitchFamily="34" charset="0"/>
              <a:ea typeface="ヒラギノ角ゴ Pro W3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AutoShape 3"/>
          <p:cNvSpPr>
            <a:spLocks noChangeArrowheads="1"/>
          </p:cNvSpPr>
          <p:nvPr/>
        </p:nvSpPr>
        <p:spPr bwMode="auto">
          <a:xfrm>
            <a:off x="82550" y="871538"/>
            <a:ext cx="4151313" cy="1604963"/>
          </a:xfrm>
          <a:prstGeom prst="cloudCallout">
            <a:avLst>
              <a:gd name="adj1" fmla="val 67670"/>
              <a:gd name="adj2" fmla="val 72915"/>
            </a:avLst>
          </a:prstGeom>
          <a:gradFill rotWithShape="0">
            <a:gsLst>
              <a:gs pos="0">
                <a:srgbClr val="CCE1EA"/>
              </a:gs>
              <a:gs pos="50000">
                <a:schemeClr val="bg1"/>
              </a:gs>
              <a:gs pos="100000">
                <a:srgbClr val="CCE1EA"/>
              </a:gs>
            </a:gsLst>
            <a:lin ang="5400000" scaled="1"/>
          </a:gradFill>
          <a:ln w="12700">
            <a:solidFill>
              <a:schemeClr val="tx1"/>
            </a:solidFill>
            <a:round/>
          </a:ln>
          <a:effectLst/>
        </p:spPr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旅游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、</a:t>
            </a:r>
            <a:r>
              <a:rPr kumimoji="1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rPr>
              <a:t>比赛等各种活动及福利措施，创造以人为本的企业文化。</a:t>
            </a:r>
            <a:endParaRPr kumimoji="1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7651" name="Rectangle 23"/>
          <p:cNvSpPr/>
          <p:nvPr/>
        </p:nvSpPr>
        <p:spPr>
          <a:xfrm>
            <a:off x="82550" y="144463"/>
            <a:ext cx="2646363" cy="611187"/>
          </a:xfrm>
          <a:prstGeom prst="rect">
            <a:avLst/>
          </a:prstGeom>
          <a:noFill/>
          <a:ln w="9525">
            <a:noFill/>
          </a:ln>
        </p:spPr>
        <p:txBody>
          <a:bodyPr lIns="91438" tIns="45718" rIns="91438" bIns="45718" anchor="ctr"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项活动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652" name="Text Box 6"/>
          <p:cNvSpPr txBox="1">
            <a:spLocks noChangeAspect="1"/>
          </p:cNvSpPr>
          <p:nvPr/>
        </p:nvSpPr>
        <p:spPr>
          <a:xfrm>
            <a:off x="730250" y="6029325"/>
            <a:ext cx="3998913" cy="279400"/>
          </a:xfrm>
          <a:prstGeom prst="rect">
            <a:avLst/>
          </a:prstGeom>
          <a:solidFill>
            <a:srgbClr val="FFFFCC"/>
          </a:solidFill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1200" b="1" dirty="0">
                <a:solidFill>
                  <a:srgbClr val="0000FF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员工才艺大赛</a:t>
            </a:r>
            <a:endParaRPr lang="en-US" altLang="zh-CN" sz="1200" b="1" dirty="0">
              <a:solidFill>
                <a:srgbClr val="0000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7653" name="Shape 531"/>
          <p:cNvSpPr/>
          <p:nvPr/>
        </p:nvSpPr>
        <p:spPr>
          <a:xfrm>
            <a:off x="5013325" y="777875"/>
            <a:ext cx="4206875" cy="3171825"/>
          </a:xfrm>
          <a:prstGeom prst="rect">
            <a:avLst/>
          </a:prstGeom>
          <a:blipFill rotWithShape="1">
            <a:blip r:embed="rId1"/>
            <a:stretch>
              <a:fillRect/>
            </a:stretch>
          </a:blipFill>
          <a:ln w="9525">
            <a:noFill/>
          </a:ln>
        </p:spPr>
        <p:txBody>
          <a:bodyPr/>
          <a:lstStyle/>
          <a:p>
            <a:pPr lvl="0" eaLnBrk="1" hangingPunct="1"/>
            <a:endParaRPr lang="zh-CN" altLang="en-US" dirty="0">
              <a:latin typeface="Arial" panose="020B0604020202020204" pitchFamily="34" charset="0"/>
              <a:ea typeface="ヒラギノ角ゴ Pro W3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013325" y="3973513"/>
            <a:ext cx="4206875" cy="276225"/>
          </a:xfrm>
          <a:prstGeom prst="rect">
            <a:avLst/>
          </a:prstGeom>
          <a:solidFill>
            <a:srgbClr val="F2F4AA"/>
          </a:solidFill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+mn-ea"/>
                <a:ea typeface="+mn-ea"/>
                <a:cs typeface="ヒラギノ角ゴ Pro W3"/>
              </a:rPr>
              <a:t>新年全员活动（多米诺骨牌）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+mn-ea"/>
              <a:ea typeface="+mn-ea"/>
              <a:cs typeface="ヒラギノ角ゴ Pro W3"/>
            </a:endParaRPr>
          </a:p>
        </p:txBody>
      </p:sp>
      <p:sp>
        <p:nvSpPr>
          <p:cNvPr id="27655" name="Shape 533"/>
          <p:cNvSpPr/>
          <p:nvPr/>
        </p:nvSpPr>
        <p:spPr>
          <a:xfrm>
            <a:off x="730250" y="2921000"/>
            <a:ext cx="3998913" cy="3148013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ln w="9525">
            <a:noFill/>
          </a:ln>
        </p:spPr>
        <p:txBody>
          <a:bodyPr/>
          <a:lstStyle/>
          <a:p>
            <a:pPr lvl="0" eaLnBrk="1" hangingPunct="1"/>
            <a:endParaRPr lang="zh-CN" altLang="en-US" dirty="0">
              <a:latin typeface="Arial" panose="020B0604020202020204" pitchFamily="34" charset="0"/>
              <a:ea typeface="ヒラギノ角ゴ Pro W3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标题 1"/>
          <p:cNvSpPr>
            <a:spLocks noGrp="1"/>
          </p:cNvSpPr>
          <p:nvPr>
            <p:ph type="title"/>
          </p:nvPr>
        </p:nvSpPr>
        <p:spPr>
          <a:xfrm>
            <a:off x="303213" y="158750"/>
            <a:ext cx="9077325" cy="612775"/>
          </a:xfrm>
        </p:spPr>
        <p:txBody>
          <a:bodyPr vert="horz" wrap="square" lIns="91438" tIns="45718" rIns="91438" bIns="45718" anchor="ctr">
            <a:spAutoFit/>
          </a:bodyPr>
          <a:lstStyle/>
          <a:p>
            <a:pPr defTabSz="455295" eaLnBrk="1" hangingPunct="1">
              <a:spcBef>
                <a:spcPct val="50000"/>
              </a:spcBef>
            </a:pPr>
            <a:r>
              <a:rPr lang="zh-CN" altLang="en-US" sz="32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俱乐部活动</a:t>
            </a:r>
            <a:endParaRPr lang="zh-CN" altLang="en-US" sz="32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  <p:sp>
        <p:nvSpPr>
          <p:cNvPr id="28675" name="Shape 530"/>
          <p:cNvSpPr/>
          <p:nvPr/>
        </p:nvSpPr>
        <p:spPr>
          <a:xfrm>
            <a:off x="0" y="3670300"/>
            <a:ext cx="4064000" cy="2801938"/>
          </a:xfrm>
          <a:prstGeom prst="rect">
            <a:avLst/>
          </a:prstGeom>
          <a:blipFill rotWithShape="1">
            <a:blip r:embed="rId1"/>
            <a:stretch>
              <a:fillRect/>
            </a:stretch>
          </a:blipFill>
          <a:ln w="9525">
            <a:noFill/>
          </a:ln>
        </p:spPr>
        <p:txBody>
          <a:bodyPr/>
          <a:lstStyle/>
          <a:p>
            <a:pPr lvl="0" eaLnBrk="1" hangingPunct="1"/>
            <a:endParaRPr lang="zh-CN" altLang="en-US" dirty="0">
              <a:latin typeface="Arial" panose="020B0604020202020204" pitchFamily="34" charset="0"/>
              <a:ea typeface="ヒラギノ角ゴ Pro W3"/>
            </a:endParaRPr>
          </a:p>
        </p:txBody>
      </p:sp>
      <p:sp>
        <p:nvSpPr>
          <p:cNvPr id="28676" name="Shape 545"/>
          <p:cNvSpPr/>
          <p:nvPr/>
        </p:nvSpPr>
        <p:spPr>
          <a:xfrm>
            <a:off x="6096000" y="692150"/>
            <a:ext cx="3676650" cy="5773738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ln w="9525">
            <a:noFill/>
          </a:ln>
        </p:spPr>
        <p:txBody>
          <a:bodyPr/>
          <a:lstStyle/>
          <a:p>
            <a:pPr lvl="0" eaLnBrk="1" hangingPunct="1"/>
            <a:endParaRPr lang="zh-CN" altLang="en-US" dirty="0">
              <a:latin typeface="Arial" panose="020B0604020202020204" pitchFamily="34" charset="0"/>
              <a:ea typeface="ヒラギノ角ゴ Pro W3"/>
            </a:endParaRPr>
          </a:p>
        </p:txBody>
      </p:sp>
      <p:grpSp>
        <p:nvGrpSpPr>
          <p:cNvPr id="28677" name="组合 7"/>
          <p:cNvGrpSpPr/>
          <p:nvPr/>
        </p:nvGrpSpPr>
        <p:grpSpPr>
          <a:xfrm>
            <a:off x="0" y="698500"/>
            <a:ext cx="5202238" cy="2905125"/>
            <a:chOff x="-1" y="697914"/>
            <a:chExt cx="5201587" cy="2905997"/>
          </a:xfrm>
        </p:grpSpPr>
        <p:sp>
          <p:nvSpPr>
            <p:cNvPr id="28681" name="Shape 551"/>
            <p:cNvSpPr/>
            <p:nvPr/>
          </p:nvSpPr>
          <p:spPr>
            <a:xfrm>
              <a:off x="1866900" y="697915"/>
              <a:ext cx="3334686" cy="2880848"/>
            </a:xfrm>
            <a:prstGeom prst="rect">
              <a:avLst/>
            </a:prstGeom>
            <a:blipFill rotWithShape="1">
              <a:blip r:embed="rId3"/>
              <a:stretch>
                <a:fillRect/>
              </a:stretch>
            </a:blip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Arial" panose="020B0604020202020204" pitchFamily="34" charset="0"/>
                <a:ea typeface="ヒラギノ角ゴ Pro W3"/>
              </a:endParaRPr>
            </a:p>
          </p:txBody>
        </p:sp>
        <p:sp>
          <p:nvSpPr>
            <p:cNvPr id="28682" name="Shape 553"/>
            <p:cNvSpPr/>
            <p:nvPr/>
          </p:nvSpPr>
          <p:spPr>
            <a:xfrm>
              <a:off x="-1" y="697914"/>
              <a:ext cx="2141373" cy="2905997"/>
            </a:xfrm>
            <a:prstGeom prst="rect">
              <a:avLst/>
            </a:prstGeom>
            <a:blipFill rotWithShape="1">
              <a:blip r:embed="rId4"/>
              <a:stretch>
                <a:fillRect/>
              </a:stretch>
            </a:blipFill>
            <a:ln w="9525">
              <a:noFill/>
            </a:ln>
          </p:spPr>
          <p:txBody>
            <a:bodyPr/>
            <a:lstStyle/>
            <a:p>
              <a:pPr lvl="0" eaLnBrk="1" hangingPunct="1"/>
              <a:endParaRPr lang="zh-CN" altLang="en-US" dirty="0">
                <a:latin typeface="Arial" panose="020B0604020202020204" pitchFamily="34" charset="0"/>
                <a:ea typeface="ヒラギノ角ゴ Pro W3"/>
              </a:endParaRPr>
            </a:p>
          </p:txBody>
        </p:sp>
      </p:grpSp>
      <p:sp>
        <p:nvSpPr>
          <p:cNvPr id="28678" name="TextBox 8"/>
          <p:cNvSpPr txBox="1"/>
          <p:nvPr/>
        </p:nvSpPr>
        <p:spPr>
          <a:xfrm>
            <a:off x="5619750" y="723900"/>
            <a:ext cx="469900" cy="2030413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defTabSz="454025" eaLnBrk="1" hangingPunct="1"/>
            <a:r>
              <a:rPr lang="zh-CN" altLang="en-US" b="1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摄影俱乐部作品</a:t>
            </a:r>
            <a:endParaRPr lang="zh-CN" altLang="en-US" b="1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679" name="TextBox 9"/>
          <p:cNvSpPr txBox="1"/>
          <p:nvPr/>
        </p:nvSpPr>
        <p:spPr>
          <a:xfrm>
            <a:off x="4064000" y="3603625"/>
            <a:ext cx="2578100" cy="3841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defTabSz="454025" eaLnBrk="1" hangingPunct="1"/>
            <a:r>
              <a:rPr lang="zh-CN" altLang="en-US" b="1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烘焙俱乐部</a:t>
            </a:r>
            <a:endParaRPr lang="zh-CN" altLang="en-US" b="1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680" name="TextBox 10"/>
          <p:cNvSpPr txBox="1"/>
          <p:nvPr/>
        </p:nvSpPr>
        <p:spPr>
          <a:xfrm>
            <a:off x="4064000" y="4597400"/>
            <a:ext cx="533400" cy="148272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defTabSz="454025" eaLnBrk="1" hangingPunct="1"/>
            <a:r>
              <a:rPr lang="zh-CN" altLang="en-US" b="1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篮球俱乐部</a:t>
            </a:r>
            <a:endParaRPr lang="zh-CN" altLang="en-US" b="1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标题 1"/>
          <p:cNvSpPr>
            <a:spLocks noGrp="1"/>
          </p:cNvSpPr>
          <p:nvPr>
            <p:ph type="title"/>
          </p:nvPr>
        </p:nvSpPr>
        <p:spPr>
          <a:xfrm>
            <a:off x="303213" y="133350"/>
            <a:ext cx="9077325" cy="612775"/>
          </a:xfrm>
        </p:spPr>
        <p:txBody>
          <a:bodyPr vert="horz" wrap="square" lIns="91438" tIns="45718" rIns="91438" bIns="45718" anchor="ctr">
            <a:spAutoFit/>
          </a:bodyPr>
          <a:lstStyle/>
          <a:p>
            <a:pPr defTabSz="455295" eaLnBrk="1" hangingPunct="1">
              <a:spcBef>
                <a:spcPct val="50000"/>
              </a:spcBef>
            </a:pPr>
            <a:r>
              <a:rPr lang="zh-CN" altLang="en-US" sz="32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工作岗位要求</a:t>
            </a:r>
            <a:endParaRPr lang="zh-CN" altLang="en-US" sz="32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  <p:sp>
        <p:nvSpPr>
          <p:cNvPr id="29699" name="Rectangle 3"/>
          <p:cNvSpPr/>
          <p:nvPr/>
        </p:nvSpPr>
        <p:spPr>
          <a:xfrm>
            <a:off x="844550" y="1160463"/>
            <a:ext cx="6575425" cy="1158875"/>
          </a:xfrm>
          <a:prstGeom prst="rect">
            <a:avLst/>
          </a:prstGeom>
          <a:noFill/>
          <a:ln w="9525">
            <a:noFill/>
          </a:ln>
        </p:spPr>
        <p:txBody>
          <a:bodyPr wrap="none" anchor="ctr"/>
          <a:lstStyle/>
          <a:p>
            <a:pPr lvl="0" eaLnBrk="1" hangingPunct="1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◆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吃苦耐劳，细心、细致的对待工作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700" name="Rectangle 4"/>
          <p:cNvSpPr/>
          <p:nvPr/>
        </p:nvSpPr>
        <p:spPr>
          <a:xfrm>
            <a:off x="831850" y="3190875"/>
            <a:ext cx="6575425" cy="1158875"/>
          </a:xfrm>
          <a:prstGeom prst="rect">
            <a:avLst/>
          </a:prstGeom>
          <a:noFill/>
          <a:ln w="9525">
            <a:noFill/>
          </a:ln>
        </p:spPr>
        <p:txBody>
          <a:bodyPr wrap="none" anchor="ctr"/>
          <a:lstStyle/>
          <a:p>
            <a:pPr lvl="0" eaLnBrk="1" hangingPunct="1"/>
            <a:r>
              <a:rPr lang="en-US" altLang="zh-CN" sz="2800" b="1" dirty="0">
                <a:solidFill>
                  <a:srgbClr val="66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◆ </a:t>
            </a:r>
            <a:r>
              <a:rPr lang="zh-CN" altLang="en-US" sz="2800" b="1" dirty="0">
                <a:solidFill>
                  <a:srgbClr val="66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事倒班及站立工作</a:t>
            </a:r>
            <a:endParaRPr lang="zh-CN" altLang="en-US" sz="2800" b="1" dirty="0">
              <a:solidFill>
                <a:srgbClr val="66006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701" name="Rectangle 5"/>
          <p:cNvSpPr/>
          <p:nvPr/>
        </p:nvSpPr>
        <p:spPr>
          <a:xfrm>
            <a:off x="838200" y="4192588"/>
            <a:ext cx="8274050" cy="1223962"/>
          </a:xfrm>
          <a:prstGeom prst="rect">
            <a:avLst/>
          </a:prstGeom>
          <a:noFill/>
          <a:ln w="9525">
            <a:noFill/>
          </a:ln>
        </p:spPr>
        <p:txBody>
          <a:bodyPr wrap="none" anchor="ctr"/>
          <a:lstStyle/>
          <a:p>
            <a:pPr lvl="0" eaLnBrk="1" hangingPunct="1"/>
            <a:r>
              <a:rPr lang="en-US" altLang="zh-CN" sz="2800" b="1" dirty="0">
                <a:solidFill>
                  <a:srgbClr val="66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◆ </a:t>
            </a:r>
            <a:r>
              <a:rPr lang="zh-CN" altLang="en-US" sz="2800" b="1" dirty="0">
                <a:solidFill>
                  <a:srgbClr val="66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事防尘室工作   </a:t>
            </a:r>
            <a:r>
              <a:rPr lang="zh-CN" altLang="en-US" sz="2000" b="1" dirty="0">
                <a:solidFill>
                  <a:srgbClr val="66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穿戴防尘服、帽、鞋及口罩、手套等）</a:t>
            </a:r>
            <a:endParaRPr lang="zh-CN" altLang="en-US" sz="2800" b="1" dirty="0">
              <a:solidFill>
                <a:srgbClr val="66006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702" name="Rectangle 6"/>
          <p:cNvSpPr/>
          <p:nvPr/>
        </p:nvSpPr>
        <p:spPr>
          <a:xfrm>
            <a:off x="838200" y="2101850"/>
            <a:ext cx="6575425" cy="1158875"/>
          </a:xfrm>
          <a:prstGeom prst="rect">
            <a:avLst/>
          </a:prstGeom>
          <a:noFill/>
          <a:ln w="9525">
            <a:noFill/>
          </a:ln>
        </p:spPr>
        <p:txBody>
          <a:bodyPr wrap="none" anchor="ctr"/>
          <a:lstStyle/>
          <a:p>
            <a:pPr lvl="0" eaLnBrk="1" hangingPunct="1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◆</a:t>
            </a:r>
            <a:r>
              <a:rPr lang="en-US" altLang="zh-CN" sz="2800" b="1" dirty="0">
                <a:solidFill>
                  <a:srgbClr val="66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服从公司的安排   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工作岗位、加班等）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标题 1"/>
          <p:cNvSpPr>
            <a:spLocks noGrp="1"/>
          </p:cNvSpPr>
          <p:nvPr>
            <p:ph type="title"/>
          </p:nvPr>
        </p:nvSpPr>
        <p:spPr>
          <a:xfrm>
            <a:off x="392113" y="223838"/>
            <a:ext cx="9077325" cy="431800"/>
          </a:xfrm>
        </p:spPr>
        <p:txBody>
          <a:bodyPr vert="horz" wrap="square" lIns="91438" tIns="45718" rIns="91438" bIns="45718" anchor="ctr"/>
          <a:lstStyle/>
          <a:p>
            <a:pPr defTabSz="455295" eaLnBrk="1" hangingPunct="1">
              <a:spcBef>
                <a:spcPct val="50000"/>
              </a:spcBef>
            </a:pPr>
            <a:r>
              <a:rPr lang="zh-CN" altLang="en-US" sz="32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薪资福利</a:t>
            </a:r>
            <a:endParaRPr lang="zh-CN" altLang="en-US" sz="32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  <p:sp>
        <p:nvSpPr>
          <p:cNvPr id="30723" name="文本框 3"/>
          <p:cNvSpPr txBox="1"/>
          <p:nvPr/>
        </p:nvSpPr>
        <p:spPr>
          <a:xfrm>
            <a:off x="246063" y="1012825"/>
            <a:ext cx="8977312" cy="513905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/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薪资待遇：</a:t>
            </a:r>
            <a:endParaRPr lang="zh-CN" altLang="en-US" sz="2000" dirty="0">
              <a:solidFill>
                <a:srgbClr val="000000"/>
              </a:solidFill>
              <a:latin typeface="Arial" panose="020B0604020202020204" pitchFamily="34" charset="0"/>
              <a:ea typeface="ヒラギノ角ゴ Pro W3"/>
            </a:endParaRPr>
          </a:p>
          <a:p>
            <a:pPr lvl="0" eaLnBrk="1" hangingPunct="1"/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1.工作时间：白班</a:t>
            </a:r>
            <a:r>
              <a:rPr lang="zh-CN" altLang="en-US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8:</a:t>
            </a:r>
            <a:r>
              <a:rPr lang="en-US" altLang="zh-CN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0</a:t>
            </a:r>
            <a:r>
              <a:rPr lang="zh-CN" altLang="en-US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0-20:</a:t>
            </a:r>
            <a:r>
              <a:rPr lang="en-US" altLang="zh-CN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0</a:t>
            </a:r>
            <a:r>
              <a:rPr lang="zh-CN" altLang="en-US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0    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夜班</a:t>
            </a:r>
            <a:r>
              <a:rPr lang="zh-CN" altLang="en-US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20:</a:t>
            </a:r>
            <a:r>
              <a:rPr lang="en-US" altLang="zh-CN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0</a:t>
            </a:r>
            <a:r>
              <a:rPr lang="zh-CN" altLang="en-US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0-8:</a:t>
            </a:r>
            <a:r>
              <a:rPr lang="en-US" altLang="zh-CN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0</a:t>
            </a:r>
            <a:r>
              <a:rPr lang="zh-CN" altLang="en-US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0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（期间包括两次休息及两次用餐）</a:t>
            </a:r>
            <a:endParaRPr lang="zh-CN" altLang="en-US" sz="2000" dirty="0">
              <a:solidFill>
                <a:srgbClr val="000000"/>
              </a:solidFill>
              <a:latin typeface="Arial" panose="020B0604020202020204" pitchFamily="34" charset="0"/>
              <a:ea typeface="ヒラギノ角ゴ Pro W3"/>
            </a:endParaRPr>
          </a:p>
          <a:p>
            <a:pPr lvl="0" eaLnBrk="1" hangingPunct="1"/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  上四休二（两天白班 两天夜班 两天休息 两天休息中或有一天加班）</a:t>
            </a:r>
            <a:endParaRPr lang="zh-CN" altLang="en-US" sz="2000" dirty="0">
              <a:solidFill>
                <a:srgbClr val="000000"/>
              </a:solidFill>
              <a:latin typeface="Arial" panose="020B0604020202020204" pitchFamily="34" charset="0"/>
              <a:ea typeface="ヒラギノ角ゴ Pro W3"/>
            </a:endParaRPr>
          </a:p>
          <a:p>
            <a:pPr lvl="0" eaLnBrk="1" hangingPunct="1"/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           </a:t>
            </a:r>
            <a:endParaRPr lang="zh-CN" altLang="en-US" sz="2000" dirty="0">
              <a:solidFill>
                <a:srgbClr val="000000"/>
              </a:solidFill>
              <a:latin typeface="Arial" panose="020B0604020202020204" pitchFamily="34" charset="0"/>
              <a:ea typeface="ヒラギノ角ゴ Pro W3"/>
            </a:endParaRPr>
          </a:p>
          <a:p>
            <a:pPr lvl="0" eaLnBrk="1" hangingPunct="1"/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2.薪酬待遇：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基本工资</a:t>
            </a:r>
            <a:r>
              <a:rPr lang="zh-CN" altLang="en-US" sz="200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：</a:t>
            </a:r>
            <a:r>
              <a:rPr lang="en-US" altLang="zh-CN" sz="200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020/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月，全勤奖：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50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元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/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月，夜班津贴：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2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元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/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夜</a:t>
            </a:r>
            <a:endParaRPr lang="zh-CN" altLang="en-US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lvl="0" eaLnBrk="1" hangingPunct="1">
              <a:lnSpc>
                <a:spcPct val="160000"/>
              </a:lnSpc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加班津贴：正常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8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小时之外加班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.5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小时，额外支付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0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元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/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天</a:t>
            </a:r>
            <a:endParaRPr lang="zh-CN" altLang="en-US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lvl="0" eaLnBrk="1" hangingPunct="1">
              <a:lnSpc>
                <a:spcPct val="160000"/>
              </a:lnSpc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加班工资：加班</a:t>
            </a:r>
            <a:r>
              <a:rPr lang="zh-CN" altLang="en-US" sz="200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基数</a:t>
            </a:r>
            <a:r>
              <a:rPr lang="zh-CN" altLang="zh-CN" sz="200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en-US" altLang="zh-CN" sz="200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020</a:t>
            </a:r>
            <a:r>
              <a:rPr lang="zh-CN" altLang="en-US" sz="2000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，</a:t>
            </a: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严格按照劳动法执行</a:t>
            </a:r>
            <a:endParaRPr lang="zh-CN" altLang="en-US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lvl="0" eaLnBrk="1" hangingPunct="1">
              <a:lnSpc>
                <a:spcPct val="160000"/>
              </a:lnSpc>
            </a:pPr>
            <a:r>
              <a:rPr lang="zh-CN" altLang="en-US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      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【</a:t>
            </a: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计薪模式：平时*</a:t>
            </a:r>
            <a:r>
              <a:rPr lang="en-US" altLang="zh-CN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.5 </a:t>
            </a: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休日*</a:t>
            </a:r>
            <a:r>
              <a:rPr lang="en-US" altLang="zh-CN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倍 国假*</a:t>
            </a:r>
            <a:r>
              <a:rPr lang="en-US" altLang="zh-CN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3</a:t>
            </a: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倍</a:t>
            </a:r>
            <a:r>
              <a:rPr lang="en-US" altLang="zh-CN" sz="2000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】</a:t>
            </a:r>
            <a:endParaRPr lang="en-US" altLang="zh-CN" sz="2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lvl="0" eaLnBrk="1" hangingPunct="1">
              <a:lnSpc>
                <a:spcPct val="160000"/>
              </a:lnSpc>
            </a:pPr>
            <a:r>
              <a:rPr lang="zh-CN" altLang="en-US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         </a:t>
            </a:r>
            <a:r>
              <a:rPr lang="zh-CN" altLang="en-US" sz="2000" b="1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综合收入</a:t>
            </a:r>
            <a:r>
              <a:rPr lang="en-US" altLang="zh-CN" sz="2000" b="1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4200</a:t>
            </a:r>
            <a:r>
              <a:rPr lang="en-US" altLang="zh-CN" sz="2000" b="1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~</a:t>
            </a:r>
            <a:r>
              <a:rPr lang="en-US" altLang="zh-CN" sz="2000" b="1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4800/</a:t>
            </a:r>
            <a:r>
              <a:rPr lang="zh-CN" altLang="en-US" sz="2000" b="1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或者</a:t>
            </a:r>
            <a:r>
              <a:rPr lang="en-US" altLang="zh-CN" sz="2000" b="1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5</a:t>
            </a:r>
            <a:r>
              <a:rPr lang="zh-CN" altLang="en-US" sz="2000" b="1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元</a:t>
            </a:r>
            <a:r>
              <a:rPr lang="en-US" altLang="zh-CN" sz="2000" b="1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/</a:t>
            </a:r>
            <a:r>
              <a:rPr lang="zh-CN" altLang="en-US" sz="2000" b="1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小时</a:t>
            </a:r>
            <a:endParaRPr lang="en-US" altLang="zh-CN" sz="2000" b="1" dirty="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lvl="0" eaLnBrk="1" hangingPunct="1"/>
            <a:endParaRPr lang="zh-CN" altLang="en-US" sz="2000" dirty="0">
              <a:solidFill>
                <a:srgbClr val="000000"/>
              </a:solidFill>
              <a:latin typeface="Arial" panose="020B0604020202020204" pitchFamily="34" charset="0"/>
              <a:ea typeface="ヒラギノ角ゴ Pro W3"/>
            </a:endParaRPr>
          </a:p>
          <a:p>
            <a:pPr lvl="0" eaLnBrk="1" hangingPunct="1"/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3.实习生岗位：自动化设备操作  品质检查等岗位      </a:t>
            </a:r>
            <a:endParaRPr lang="zh-CN" altLang="en-US" sz="2000" dirty="0">
              <a:solidFill>
                <a:srgbClr val="000000"/>
              </a:solidFill>
              <a:latin typeface="Arial" panose="020B0604020202020204" pitchFamily="34" charset="0"/>
              <a:ea typeface="ヒラギノ角ゴ Pro W3"/>
            </a:endParaRPr>
          </a:p>
          <a:p>
            <a:pPr lvl="0" eaLnBrk="1" hangingPunct="1"/>
            <a:endParaRPr lang="zh-CN" altLang="en-US" sz="2000" dirty="0">
              <a:solidFill>
                <a:srgbClr val="000000"/>
              </a:solidFill>
              <a:latin typeface="Arial" panose="020B0604020202020204" pitchFamily="34" charset="0"/>
              <a:ea typeface="ヒラギノ角ゴ Pro W3"/>
            </a:endParaRPr>
          </a:p>
          <a:p>
            <a:pPr lvl="0" eaLnBrk="1" hangingPunct="1"/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4. </a:t>
            </a:r>
            <a:r>
              <a:rPr lang="zh-CN" altLang="en-US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住宿费每人每月</a:t>
            </a:r>
            <a:r>
              <a:rPr lang="en-US" altLang="zh-CN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100</a:t>
            </a:r>
            <a:r>
              <a:rPr lang="zh-CN" altLang="en-US" sz="20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元（</a:t>
            </a:r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水电费根据实际用量宿舍分摊）</a:t>
            </a:r>
            <a:endParaRPr lang="zh-CN" altLang="en-US" sz="2000" dirty="0">
              <a:solidFill>
                <a:srgbClr val="000000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lvl="0" eaLnBrk="1" hangingPunct="1"/>
            <a:r>
              <a:rPr lang="zh-CN" altLang="en-US" sz="2000" dirty="0">
                <a:solidFill>
                  <a:srgbClr val="000000"/>
                </a:solidFill>
                <a:latin typeface="Arial" panose="020B0604020202020204" pitchFamily="34" charset="0"/>
                <a:ea typeface="ヒラギノ角ゴ Pro W3"/>
              </a:rPr>
              <a:t>5. 公司设有医务室，在公司医务室就诊拿药，费用全部企业承担</a:t>
            </a:r>
            <a:endParaRPr lang="zh-CN" altLang="en-US" sz="2000" dirty="0">
              <a:solidFill>
                <a:srgbClr val="000000"/>
              </a:solidFill>
              <a:latin typeface="Arial" panose="020B0604020202020204" pitchFamily="34" charset="0"/>
              <a:ea typeface="ヒラギノ角ゴ Pro W3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标题 1"/>
          <p:cNvSpPr>
            <a:spLocks noGrp="1"/>
          </p:cNvSpPr>
          <p:nvPr>
            <p:ph type="title"/>
          </p:nvPr>
        </p:nvSpPr>
        <p:spPr>
          <a:xfrm>
            <a:off x="392113" y="223838"/>
            <a:ext cx="9077325" cy="431800"/>
          </a:xfrm>
        </p:spPr>
        <p:txBody>
          <a:bodyPr vert="horz" wrap="square" lIns="91438" tIns="45718" rIns="91438" bIns="45718" anchor="ctr"/>
          <a:lstStyle/>
          <a:p>
            <a:pPr defTabSz="455295"/>
            <a:r>
              <a:rPr lang="zh-CN" altLang="en-US" sz="35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讨论？</a:t>
            </a:r>
            <a:endParaRPr lang="zh-CN" altLang="en-US" sz="35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503238" y="1539875"/>
            <a:ext cx="4213225" cy="5222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95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在你看来，实习是否是这样的</a:t>
            </a:r>
            <a:r>
              <a:rPr kumimoji="0" lang="en-US" altLang="zh-CN" sz="1950" b="0" i="0" u="none" strike="noStrike" kern="1200" cap="none" spc="0" normalizeH="0" baseline="0" noProof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?</a:t>
            </a:r>
            <a:endParaRPr kumimoji="0" lang="en-US" altLang="zh-CN" sz="1950" b="0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03238" y="2395538"/>
            <a:ext cx="4213225" cy="2322513"/>
          </a:xfrm>
          <a:prstGeom prst="rect">
            <a:avLst/>
          </a:prstGeom>
          <a:noFill/>
          <a:ln w="28575" cmpd="sng">
            <a:solidFill>
              <a:schemeClr val="accent1">
                <a:shade val="50000"/>
              </a:schemeClr>
            </a:solidFill>
            <a:prstDash val="sysDot"/>
          </a:ln>
        </p:spPr>
        <p:txBody>
          <a:bodyPr>
            <a:spAutoFit/>
          </a:bodyPr>
          <a:lstStyle/>
          <a:p>
            <a:pPr marL="285750" marR="0" lvl="0" indent="-28575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n"/>
              <a:defRPr/>
            </a:pPr>
            <a:r>
              <a:rPr kumimoji="0" lang="zh-CN" altLang="en-US" sz="2925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枯燥的工作？</a:t>
            </a:r>
            <a:endParaRPr kumimoji="0" lang="zh-CN" altLang="en-US" sz="292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285750" marR="0" lvl="0" indent="-28575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n"/>
              <a:defRPr/>
            </a:pPr>
            <a:endParaRPr kumimoji="0" lang="zh-CN" altLang="en-US" sz="292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285750" marR="0" lvl="0" indent="-28575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n"/>
              <a:defRPr/>
            </a:pPr>
            <a:r>
              <a:rPr kumimoji="0" lang="zh-CN" altLang="en-US" sz="2925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微薄的收入</a:t>
            </a:r>
            <a:r>
              <a:rPr kumimoji="0" lang="en-US" altLang="zh-CN" sz="2925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?</a:t>
            </a:r>
            <a:endParaRPr kumimoji="0" lang="en-US" altLang="zh-CN" sz="292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285750" marR="0" lvl="0" indent="-28575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n"/>
              <a:defRPr/>
            </a:pPr>
            <a:endParaRPr kumimoji="0" lang="en-US" altLang="zh-CN" sz="292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285750" marR="0" lvl="0" indent="-28575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n"/>
              <a:defRPr/>
            </a:pPr>
            <a:r>
              <a:rPr kumimoji="0" lang="zh-CN" altLang="en-US" sz="2925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孤立无援的生活？</a:t>
            </a:r>
            <a:endParaRPr kumimoji="0" lang="zh-CN" altLang="en-US" sz="292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03238" y="5160963"/>
            <a:ext cx="9220200" cy="523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600" b="1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这样的实习真的能让你更快融入社会</a:t>
            </a:r>
            <a:r>
              <a:rPr kumimoji="0" lang="en-US" altLang="zh-CN" sz="2600" b="1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?</a:t>
            </a:r>
            <a:r>
              <a:rPr kumimoji="0" lang="zh-CN" altLang="en-US" sz="2600" b="1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助你顺利就业吗？</a:t>
            </a:r>
            <a:r>
              <a:rPr kumimoji="0" lang="en-US" altLang="zh-CN" sz="2600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O</a:t>
            </a:r>
            <a:endParaRPr kumimoji="0" lang="en-US" altLang="zh-CN" sz="2600" b="1" i="0" u="sng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31750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030788" y="1539875"/>
            <a:ext cx="3608387" cy="3157538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77888" y="2744788"/>
            <a:ext cx="1095375" cy="1096963"/>
          </a:xfrm>
          <a:prstGeom prst="ellipse">
            <a:avLst/>
          </a:prstGeom>
          <a:gradFill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3" name="Oval 8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0438" y="2819400"/>
            <a:ext cx="933450" cy="941388"/>
          </a:xfrm>
          <a:prstGeom prst="ellipse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 lIns="0" tIns="0" rIns="0" bIns="0" anchor="ctr">
            <a:norm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学习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24" name="Oval 8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28713" y="2833688"/>
            <a:ext cx="585788" cy="328613"/>
          </a:xfrm>
          <a:prstGeom prst="ellipse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lumMod val="60000"/>
                  <a:lumOff val="40000"/>
                  <a:alpha val="51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 fontScale="72500" lnSpcReduction="20000"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0" name="Freeform 97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1279525" y="4140200"/>
            <a:ext cx="233363" cy="517525"/>
          </a:xfrm>
          <a:custGeom>
            <a:avLst/>
            <a:gdLst/>
            <a:ahLst/>
            <a:cxnLst>
              <a:cxn ang="0">
                <a:pos x="97" y="434"/>
              </a:cxn>
              <a:cxn ang="0">
                <a:pos x="0" y="269"/>
              </a:cxn>
              <a:cxn ang="0">
                <a:pos x="38" y="269"/>
              </a:cxn>
              <a:cxn ang="0">
                <a:pos x="46" y="269"/>
              </a:cxn>
              <a:cxn ang="0">
                <a:pos x="46" y="261"/>
              </a:cxn>
              <a:cxn ang="0">
                <a:pos x="46" y="209"/>
              </a:cxn>
              <a:cxn ang="0">
                <a:pos x="149" y="209"/>
              </a:cxn>
              <a:cxn ang="0">
                <a:pos x="149" y="261"/>
              </a:cxn>
              <a:cxn ang="0">
                <a:pos x="149" y="269"/>
              </a:cxn>
              <a:cxn ang="0">
                <a:pos x="157" y="269"/>
              </a:cxn>
              <a:cxn ang="0">
                <a:pos x="195" y="269"/>
              </a:cxn>
              <a:cxn ang="0">
                <a:pos x="97" y="434"/>
              </a:cxn>
              <a:cxn ang="0">
                <a:pos x="97" y="434"/>
              </a:cxn>
              <a:cxn ang="0">
                <a:pos x="46" y="164"/>
              </a:cxn>
              <a:cxn ang="0">
                <a:pos x="46" y="85"/>
              </a:cxn>
              <a:cxn ang="0">
                <a:pos x="149" y="85"/>
              </a:cxn>
              <a:cxn ang="0">
                <a:pos x="149" y="164"/>
              </a:cxn>
              <a:cxn ang="0">
                <a:pos x="46" y="164"/>
              </a:cxn>
              <a:cxn ang="0">
                <a:pos x="46" y="164"/>
              </a:cxn>
              <a:cxn ang="0">
                <a:pos x="46" y="42"/>
              </a:cxn>
              <a:cxn ang="0">
                <a:pos x="46" y="0"/>
              </a:cxn>
              <a:cxn ang="0">
                <a:pos x="149" y="0"/>
              </a:cxn>
              <a:cxn ang="0">
                <a:pos x="149" y="42"/>
              </a:cxn>
              <a:cxn ang="0">
                <a:pos x="46" y="42"/>
              </a:cxn>
              <a:cxn ang="0">
                <a:pos x="46" y="42"/>
              </a:cxn>
            </a:cxnLst>
            <a:rect l="0" t="0" r="r" b="b"/>
            <a:pathLst>
              <a:path w="195" h="434">
                <a:moveTo>
                  <a:pt x="97" y="434"/>
                </a:moveTo>
                <a:lnTo>
                  <a:pt x="0" y="269"/>
                </a:lnTo>
                <a:lnTo>
                  <a:pt x="38" y="269"/>
                </a:lnTo>
                <a:lnTo>
                  <a:pt x="46" y="269"/>
                </a:lnTo>
                <a:lnTo>
                  <a:pt x="46" y="261"/>
                </a:lnTo>
                <a:lnTo>
                  <a:pt x="46" y="209"/>
                </a:lnTo>
                <a:lnTo>
                  <a:pt x="149" y="209"/>
                </a:lnTo>
                <a:lnTo>
                  <a:pt x="149" y="261"/>
                </a:lnTo>
                <a:lnTo>
                  <a:pt x="149" y="269"/>
                </a:lnTo>
                <a:lnTo>
                  <a:pt x="157" y="269"/>
                </a:lnTo>
                <a:lnTo>
                  <a:pt x="195" y="269"/>
                </a:lnTo>
                <a:lnTo>
                  <a:pt x="97" y="434"/>
                </a:lnTo>
                <a:lnTo>
                  <a:pt x="97" y="434"/>
                </a:lnTo>
                <a:close/>
                <a:moveTo>
                  <a:pt x="46" y="164"/>
                </a:moveTo>
                <a:lnTo>
                  <a:pt x="46" y="85"/>
                </a:lnTo>
                <a:lnTo>
                  <a:pt x="149" y="85"/>
                </a:lnTo>
                <a:lnTo>
                  <a:pt x="149" y="164"/>
                </a:lnTo>
                <a:lnTo>
                  <a:pt x="46" y="164"/>
                </a:lnTo>
                <a:lnTo>
                  <a:pt x="46" y="164"/>
                </a:lnTo>
                <a:close/>
                <a:moveTo>
                  <a:pt x="46" y="42"/>
                </a:moveTo>
                <a:lnTo>
                  <a:pt x="46" y="0"/>
                </a:lnTo>
                <a:lnTo>
                  <a:pt x="149" y="0"/>
                </a:lnTo>
                <a:lnTo>
                  <a:pt x="149" y="42"/>
                </a:lnTo>
                <a:lnTo>
                  <a:pt x="46" y="42"/>
                </a:lnTo>
                <a:lnTo>
                  <a:pt x="46" y="42"/>
                </a:lnTo>
                <a:close/>
              </a:path>
            </a:pathLst>
          </a:custGeom>
          <a:gradFill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6" name="矩形 25"/>
          <p:cNvSpPr/>
          <p:nvPr>
            <p:custDataLst>
              <p:tags r:id="rId5"/>
            </p:custDataLst>
          </p:nvPr>
        </p:nvSpPr>
        <p:spPr>
          <a:xfrm>
            <a:off x="684213" y="4838700"/>
            <a:ext cx="1430338" cy="1322388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必讲知识点：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285750" marR="0" lvl="0" indent="-285750" algn="ctr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适应职场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285750" marR="0" lvl="0" indent="-285750" algn="ctr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快速晋升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285750" marR="0" lvl="0" indent="-285750" algn="ctr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l"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基层管理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50" name="Oval 7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90850" y="2744788"/>
            <a:ext cx="1095375" cy="1096963"/>
          </a:xfrm>
          <a:prstGeom prst="ellipse">
            <a:avLst/>
          </a:prstGeom>
          <a:gradFill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51" name="Oval 8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071813" y="2819400"/>
            <a:ext cx="933450" cy="941388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 lIns="0" tIns="0" rIns="0" bIns="0" anchor="ctr">
            <a:norm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旅行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52" name="Oval 8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241675" y="2833688"/>
            <a:ext cx="585788" cy="328613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lumMod val="60000"/>
                  <a:lumOff val="40000"/>
                  <a:alpha val="51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 fontScale="72500" lnSpcReduction="20000"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54" name="Freeform 97"/>
          <p:cNvSpPr>
            <a:spLocks noEditPoints="1"/>
          </p:cNvSpPr>
          <p:nvPr>
            <p:custDataLst>
              <p:tags r:id="rId9"/>
            </p:custDataLst>
          </p:nvPr>
        </p:nvSpPr>
        <p:spPr bwMode="auto">
          <a:xfrm>
            <a:off x="3392488" y="4140200"/>
            <a:ext cx="233363" cy="517525"/>
          </a:xfrm>
          <a:custGeom>
            <a:avLst/>
            <a:gdLst/>
            <a:ahLst/>
            <a:cxnLst>
              <a:cxn ang="0">
                <a:pos x="97" y="434"/>
              </a:cxn>
              <a:cxn ang="0">
                <a:pos x="0" y="269"/>
              </a:cxn>
              <a:cxn ang="0">
                <a:pos x="38" y="269"/>
              </a:cxn>
              <a:cxn ang="0">
                <a:pos x="46" y="269"/>
              </a:cxn>
              <a:cxn ang="0">
                <a:pos x="46" y="261"/>
              </a:cxn>
              <a:cxn ang="0">
                <a:pos x="46" y="209"/>
              </a:cxn>
              <a:cxn ang="0">
                <a:pos x="149" y="209"/>
              </a:cxn>
              <a:cxn ang="0">
                <a:pos x="149" y="261"/>
              </a:cxn>
              <a:cxn ang="0">
                <a:pos x="149" y="269"/>
              </a:cxn>
              <a:cxn ang="0">
                <a:pos x="157" y="269"/>
              </a:cxn>
              <a:cxn ang="0">
                <a:pos x="195" y="269"/>
              </a:cxn>
              <a:cxn ang="0">
                <a:pos x="97" y="434"/>
              </a:cxn>
              <a:cxn ang="0">
                <a:pos x="97" y="434"/>
              </a:cxn>
              <a:cxn ang="0">
                <a:pos x="46" y="164"/>
              </a:cxn>
              <a:cxn ang="0">
                <a:pos x="46" y="85"/>
              </a:cxn>
              <a:cxn ang="0">
                <a:pos x="149" y="85"/>
              </a:cxn>
              <a:cxn ang="0">
                <a:pos x="149" y="164"/>
              </a:cxn>
              <a:cxn ang="0">
                <a:pos x="46" y="164"/>
              </a:cxn>
              <a:cxn ang="0">
                <a:pos x="46" y="164"/>
              </a:cxn>
              <a:cxn ang="0">
                <a:pos x="46" y="42"/>
              </a:cxn>
              <a:cxn ang="0">
                <a:pos x="46" y="0"/>
              </a:cxn>
              <a:cxn ang="0">
                <a:pos x="149" y="0"/>
              </a:cxn>
              <a:cxn ang="0">
                <a:pos x="149" y="42"/>
              </a:cxn>
              <a:cxn ang="0">
                <a:pos x="46" y="42"/>
              </a:cxn>
              <a:cxn ang="0">
                <a:pos x="46" y="42"/>
              </a:cxn>
            </a:cxnLst>
            <a:rect l="0" t="0" r="r" b="b"/>
            <a:pathLst>
              <a:path w="195" h="434">
                <a:moveTo>
                  <a:pt x="97" y="434"/>
                </a:moveTo>
                <a:lnTo>
                  <a:pt x="0" y="269"/>
                </a:lnTo>
                <a:lnTo>
                  <a:pt x="38" y="269"/>
                </a:lnTo>
                <a:lnTo>
                  <a:pt x="46" y="269"/>
                </a:lnTo>
                <a:lnTo>
                  <a:pt x="46" y="261"/>
                </a:lnTo>
                <a:lnTo>
                  <a:pt x="46" y="209"/>
                </a:lnTo>
                <a:lnTo>
                  <a:pt x="149" y="209"/>
                </a:lnTo>
                <a:lnTo>
                  <a:pt x="149" y="261"/>
                </a:lnTo>
                <a:lnTo>
                  <a:pt x="149" y="269"/>
                </a:lnTo>
                <a:lnTo>
                  <a:pt x="157" y="269"/>
                </a:lnTo>
                <a:lnTo>
                  <a:pt x="195" y="269"/>
                </a:lnTo>
                <a:lnTo>
                  <a:pt x="97" y="434"/>
                </a:lnTo>
                <a:lnTo>
                  <a:pt x="97" y="434"/>
                </a:lnTo>
                <a:close/>
                <a:moveTo>
                  <a:pt x="46" y="164"/>
                </a:moveTo>
                <a:lnTo>
                  <a:pt x="46" y="85"/>
                </a:lnTo>
                <a:lnTo>
                  <a:pt x="149" y="85"/>
                </a:lnTo>
                <a:lnTo>
                  <a:pt x="149" y="164"/>
                </a:lnTo>
                <a:lnTo>
                  <a:pt x="46" y="164"/>
                </a:lnTo>
                <a:lnTo>
                  <a:pt x="46" y="164"/>
                </a:lnTo>
                <a:close/>
                <a:moveTo>
                  <a:pt x="46" y="42"/>
                </a:moveTo>
                <a:lnTo>
                  <a:pt x="46" y="0"/>
                </a:lnTo>
                <a:lnTo>
                  <a:pt x="149" y="0"/>
                </a:lnTo>
                <a:lnTo>
                  <a:pt x="149" y="42"/>
                </a:lnTo>
                <a:lnTo>
                  <a:pt x="46" y="42"/>
                </a:lnTo>
                <a:lnTo>
                  <a:pt x="46" y="42"/>
                </a:lnTo>
                <a:close/>
              </a:path>
            </a:pathLst>
          </a:custGeom>
          <a:gradFill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55" name="矩形 54"/>
          <p:cNvSpPr/>
          <p:nvPr>
            <p:custDataLst>
              <p:tags r:id="rId10"/>
            </p:custDataLst>
          </p:nvPr>
        </p:nvSpPr>
        <p:spPr>
          <a:xfrm>
            <a:off x="2795588" y="4838700"/>
            <a:ext cx="1431925" cy="1322388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定期安排免费集体旅游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57" name="Oval 7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103813" y="2744788"/>
            <a:ext cx="1095375" cy="1096963"/>
          </a:xfrm>
          <a:prstGeom prst="ellipse">
            <a:avLst/>
          </a:prstGeom>
          <a:gradFill rotWithShape="1">
            <a:gsLst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accent3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58" name="Oval 8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84775" y="2819400"/>
            <a:ext cx="933450" cy="941388"/>
          </a:xfrm>
          <a:prstGeom prst="ellipse">
            <a:avLst/>
          </a:prstGeom>
          <a:gradFill rotWithShape="1"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 lIns="0" tIns="0" rIns="0" bIns="0" anchor="ctr">
            <a:norm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体验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59" name="Oval 8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354638" y="2833688"/>
            <a:ext cx="584200" cy="328613"/>
          </a:xfrm>
          <a:prstGeom prst="ellipse">
            <a:avLst/>
          </a:prstGeom>
          <a:gradFill rotWithShape="1">
            <a:gsLst>
              <a:gs pos="0">
                <a:schemeClr val="accent3"/>
              </a:gs>
              <a:gs pos="100000">
                <a:schemeClr val="accent3">
                  <a:lumMod val="60000"/>
                  <a:lumOff val="40000"/>
                  <a:alpha val="51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 fontScale="72500" lnSpcReduction="20000"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60" name="Freeform 96"/>
          <p:cNvSpPr>
            <a:spLocks noEditPoints="1"/>
          </p:cNvSpPr>
          <p:nvPr>
            <p:custDataLst>
              <p:tags r:id="rId14"/>
            </p:custDataLst>
          </p:nvPr>
        </p:nvSpPr>
        <p:spPr bwMode="auto">
          <a:xfrm>
            <a:off x="5484813" y="4129088"/>
            <a:ext cx="269875" cy="547688"/>
          </a:xfrm>
          <a:custGeom>
            <a:avLst/>
            <a:gdLst/>
            <a:ahLst/>
            <a:cxnLst>
              <a:cxn ang="0">
                <a:pos x="173" y="209"/>
              </a:cxn>
              <a:cxn ang="0">
                <a:pos x="173" y="269"/>
              </a:cxn>
              <a:cxn ang="0">
                <a:pos x="225" y="269"/>
              </a:cxn>
              <a:cxn ang="0">
                <a:pos x="113" y="457"/>
              </a:cxn>
              <a:cxn ang="0">
                <a:pos x="0" y="269"/>
              </a:cxn>
              <a:cxn ang="0">
                <a:pos x="54" y="269"/>
              </a:cxn>
              <a:cxn ang="0">
                <a:pos x="54" y="209"/>
              </a:cxn>
              <a:cxn ang="0">
                <a:pos x="54" y="209"/>
              </a:cxn>
              <a:cxn ang="0">
                <a:pos x="173" y="209"/>
              </a:cxn>
              <a:cxn ang="0">
                <a:pos x="173" y="180"/>
              </a:cxn>
              <a:cxn ang="0">
                <a:pos x="173" y="180"/>
              </a:cxn>
              <a:cxn ang="0">
                <a:pos x="173" y="85"/>
              </a:cxn>
              <a:cxn ang="0">
                <a:pos x="54" y="85"/>
              </a:cxn>
              <a:cxn ang="0">
                <a:pos x="54" y="178"/>
              </a:cxn>
              <a:cxn ang="0">
                <a:pos x="54" y="180"/>
              </a:cxn>
              <a:cxn ang="0">
                <a:pos x="173" y="180"/>
              </a:cxn>
              <a:cxn ang="0">
                <a:pos x="173" y="58"/>
              </a:cxn>
              <a:cxn ang="0">
                <a:pos x="173" y="58"/>
              </a:cxn>
              <a:cxn ang="0">
                <a:pos x="173" y="0"/>
              </a:cxn>
              <a:cxn ang="0">
                <a:pos x="54" y="0"/>
              </a:cxn>
              <a:cxn ang="0">
                <a:pos x="54" y="56"/>
              </a:cxn>
              <a:cxn ang="0">
                <a:pos x="54" y="58"/>
              </a:cxn>
              <a:cxn ang="0">
                <a:pos x="173" y="58"/>
              </a:cxn>
            </a:cxnLst>
            <a:rect l="0" t="0" r="r" b="b"/>
            <a:pathLst>
              <a:path w="225" h="457">
                <a:moveTo>
                  <a:pt x="173" y="209"/>
                </a:moveTo>
                <a:lnTo>
                  <a:pt x="173" y="269"/>
                </a:lnTo>
                <a:lnTo>
                  <a:pt x="225" y="269"/>
                </a:lnTo>
                <a:lnTo>
                  <a:pt x="113" y="457"/>
                </a:lnTo>
                <a:lnTo>
                  <a:pt x="0" y="269"/>
                </a:lnTo>
                <a:lnTo>
                  <a:pt x="54" y="269"/>
                </a:lnTo>
                <a:lnTo>
                  <a:pt x="54" y="209"/>
                </a:lnTo>
                <a:lnTo>
                  <a:pt x="54" y="209"/>
                </a:lnTo>
                <a:lnTo>
                  <a:pt x="173" y="209"/>
                </a:lnTo>
                <a:close/>
                <a:moveTo>
                  <a:pt x="173" y="180"/>
                </a:moveTo>
                <a:lnTo>
                  <a:pt x="173" y="180"/>
                </a:lnTo>
                <a:lnTo>
                  <a:pt x="173" y="85"/>
                </a:lnTo>
                <a:lnTo>
                  <a:pt x="54" y="85"/>
                </a:lnTo>
                <a:lnTo>
                  <a:pt x="54" y="178"/>
                </a:lnTo>
                <a:lnTo>
                  <a:pt x="54" y="180"/>
                </a:lnTo>
                <a:lnTo>
                  <a:pt x="173" y="180"/>
                </a:lnTo>
                <a:close/>
                <a:moveTo>
                  <a:pt x="173" y="58"/>
                </a:moveTo>
                <a:lnTo>
                  <a:pt x="173" y="58"/>
                </a:lnTo>
                <a:lnTo>
                  <a:pt x="173" y="0"/>
                </a:lnTo>
                <a:lnTo>
                  <a:pt x="54" y="0"/>
                </a:lnTo>
                <a:lnTo>
                  <a:pt x="54" y="56"/>
                </a:lnTo>
                <a:lnTo>
                  <a:pt x="54" y="58"/>
                </a:lnTo>
                <a:lnTo>
                  <a:pt x="173" y="58"/>
                </a:lnTo>
                <a:close/>
              </a:path>
            </a:pathLst>
          </a:custGeom>
          <a:gradFill rotWithShape="1">
            <a:gsLst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accent3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62" name="矩形 61"/>
          <p:cNvSpPr/>
          <p:nvPr>
            <p:custDataLst>
              <p:tags r:id="rId15"/>
            </p:custDataLst>
          </p:nvPr>
        </p:nvSpPr>
        <p:spPr>
          <a:xfrm>
            <a:off x="4908550" y="4838700"/>
            <a:ext cx="1674813" cy="1322388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户外拓展基地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0" marR="0" lvl="0" indent="0" algn="l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专业拓展团队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0" marR="0" lvl="0" indent="0" algn="l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寓教于乐拓展课程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64" name="Oval 7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215188" y="2744788"/>
            <a:ext cx="1095375" cy="1096963"/>
          </a:xfrm>
          <a:prstGeom prst="ellipse">
            <a:avLst/>
          </a:prstGeom>
          <a:gradFill rotWithShape="1"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65" name="Oval 8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296150" y="2819400"/>
            <a:ext cx="933450" cy="941388"/>
          </a:xfrm>
          <a:prstGeom prst="ellipse">
            <a:avLst/>
          </a:prstGeom>
          <a:gradFill rotWithShape="1"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 lIns="0" tIns="0" rIns="0" bIns="0" anchor="ctr">
            <a:norm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收入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66" name="Oval 8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466013" y="2833688"/>
            <a:ext cx="585788" cy="328613"/>
          </a:xfrm>
          <a:prstGeom prst="ellipse">
            <a:avLst/>
          </a:prstGeom>
          <a:gradFill rotWithShape="1">
            <a:gsLst>
              <a:gs pos="0">
                <a:schemeClr val="accent4"/>
              </a:gs>
              <a:gs pos="100000">
                <a:schemeClr val="accent4">
                  <a:lumMod val="60000"/>
                  <a:lumOff val="40000"/>
                  <a:alpha val="51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 fontScale="72500" lnSpcReduction="20000"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67" name="Freeform 96"/>
          <p:cNvSpPr>
            <a:spLocks noEditPoints="1"/>
          </p:cNvSpPr>
          <p:nvPr>
            <p:custDataLst>
              <p:tags r:id="rId19"/>
            </p:custDataLst>
          </p:nvPr>
        </p:nvSpPr>
        <p:spPr bwMode="auto">
          <a:xfrm>
            <a:off x="7597775" y="4129088"/>
            <a:ext cx="269875" cy="547688"/>
          </a:xfrm>
          <a:custGeom>
            <a:avLst/>
            <a:gdLst/>
            <a:ahLst/>
            <a:cxnLst>
              <a:cxn ang="0">
                <a:pos x="173" y="209"/>
              </a:cxn>
              <a:cxn ang="0">
                <a:pos x="173" y="269"/>
              </a:cxn>
              <a:cxn ang="0">
                <a:pos x="225" y="269"/>
              </a:cxn>
              <a:cxn ang="0">
                <a:pos x="113" y="457"/>
              </a:cxn>
              <a:cxn ang="0">
                <a:pos x="0" y="269"/>
              </a:cxn>
              <a:cxn ang="0">
                <a:pos x="54" y="269"/>
              </a:cxn>
              <a:cxn ang="0">
                <a:pos x="54" y="209"/>
              </a:cxn>
              <a:cxn ang="0">
                <a:pos x="54" y="209"/>
              </a:cxn>
              <a:cxn ang="0">
                <a:pos x="173" y="209"/>
              </a:cxn>
              <a:cxn ang="0">
                <a:pos x="173" y="180"/>
              </a:cxn>
              <a:cxn ang="0">
                <a:pos x="173" y="180"/>
              </a:cxn>
              <a:cxn ang="0">
                <a:pos x="173" y="85"/>
              </a:cxn>
              <a:cxn ang="0">
                <a:pos x="54" y="85"/>
              </a:cxn>
              <a:cxn ang="0">
                <a:pos x="54" y="178"/>
              </a:cxn>
              <a:cxn ang="0">
                <a:pos x="54" y="180"/>
              </a:cxn>
              <a:cxn ang="0">
                <a:pos x="173" y="180"/>
              </a:cxn>
              <a:cxn ang="0">
                <a:pos x="173" y="58"/>
              </a:cxn>
              <a:cxn ang="0">
                <a:pos x="173" y="58"/>
              </a:cxn>
              <a:cxn ang="0">
                <a:pos x="173" y="0"/>
              </a:cxn>
              <a:cxn ang="0">
                <a:pos x="54" y="0"/>
              </a:cxn>
              <a:cxn ang="0">
                <a:pos x="54" y="56"/>
              </a:cxn>
              <a:cxn ang="0">
                <a:pos x="54" y="58"/>
              </a:cxn>
              <a:cxn ang="0">
                <a:pos x="173" y="58"/>
              </a:cxn>
            </a:cxnLst>
            <a:rect l="0" t="0" r="r" b="b"/>
            <a:pathLst>
              <a:path w="225" h="457">
                <a:moveTo>
                  <a:pt x="173" y="209"/>
                </a:moveTo>
                <a:lnTo>
                  <a:pt x="173" y="269"/>
                </a:lnTo>
                <a:lnTo>
                  <a:pt x="225" y="269"/>
                </a:lnTo>
                <a:lnTo>
                  <a:pt x="113" y="457"/>
                </a:lnTo>
                <a:lnTo>
                  <a:pt x="0" y="269"/>
                </a:lnTo>
                <a:lnTo>
                  <a:pt x="54" y="269"/>
                </a:lnTo>
                <a:lnTo>
                  <a:pt x="54" y="209"/>
                </a:lnTo>
                <a:lnTo>
                  <a:pt x="54" y="209"/>
                </a:lnTo>
                <a:lnTo>
                  <a:pt x="173" y="209"/>
                </a:lnTo>
                <a:close/>
                <a:moveTo>
                  <a:pt x="173" y="180"/>
                </a:moveTo>
                <a:lnTo>
                  <a:pt x="173" y="180"/>
                </a:lnTo>
                <a:lnTo>
                  <a:pt x="173" y="85"/>
                </a:lnTo>
                <a:lnTo>
                  <a:pt x="54" y="85"/>
                </a:lnTo>
                <a:lnTo>
                  <a:pt x="54" y="178"/>
                </a:lnTo>
                <a:lnTo>
                  <a:pt x="54" y="180"/>
                </a:lnTo>
                <a:lnTo>
                  <a:pt x="173" y="180"/>
                </a:lnTo>
                <a:close/>
                <a:moveTo>
                  <a:pt x="173" y="58"/>
                </a:moveTo>
                <a:lnTo>
                  <a:pt x="173" y="58"/>
                </a:lnTo>
                <a:lnTo>
                  <a:pt x="173" y="0"/>
                </a:lnTo>
                <a:lnTo>
                  <a:pt x="54" y="0"/>
                </a:lnTo>
                <a:lnTo>
                  <a:pt x="54" y="56"/>
                </a:lnTo>
                <a:lnTo>
                  <a:pt x="54" y="58"/>
                </a:lnTo>
                <a:lnTo>
                  <a:pt x="173" y="58"/>
                </a:lnTo>
                <a:close/>
              </a:path>
            </a:pathLst>
          </a:custGeom>
          <a:gradFill rotWithShape="1"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  <a:round/>
          </a:ln>
        </p:spPr>
        <p:txBody>
          <a:bodyPr>
            <a:norm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zh-CN" sz="1465" b="0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69" name="矩形 68"/>
          <p:cNvSpPr/>
          <p:nvPr>
            <p:custDataLst>
              <p:tags r:id="rId20"/>
            </p:custDataLst>
          </p:nvPr>
        </p:nvSpPr>
        <p:spPr>
          <a:xfrm>
            <a:off x="7021513" y="4838700"/>
            <a:ext cx="1430338" cy="1322388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每月</a:t>
            </a:r>
            <a:r>
              <a:rPr kumimoji="0" lang="en-US" altLang="zh-CN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10</a:t>
            </a:r>
            <a:r>
              <a:rPr kumimoji="0" lang="zh-CN" altLang="en-US" sz="1465" b="1" i="0" u="none" strike="noStrike" kern="1200" cap="none" spc="0" normalizeH="0" baseline="0" noProof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号发薪，遇节假日提前发薪，绝不延后</a:t>
            </a: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" name="标题 1"/>
          <p:cNvSpPr>
            <a:spLocks noGrp="1"/>
          </p:cNvSpPr>
          <p:nvPr/>
        </p:nvSpPr>
        <p:spPr>
          <a:xfrm>
            <a:off x="3457575" y="754063"/>
            <a:ext cx="2630488" cy="508000"/>
          </a:xfrm>
          <a:prstGeom prst="rect">
            <a:avLst/>
          </a:prstGeom>
        </p:spPr>
        <p:txBody>
          <a:bodyPr lIns="74295" tIns="37147" rIns="74295" bIns="37147" anchor="ctr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79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晶端实习生体验课程体系</a:t>
            </a:r>
            <a:endParaRPr kumimoji="0" lang="zh-CN" altLang="en-US" sz="1790" b="0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68325" y="1473200"/>
            <a:ext cx="6015038" cy="523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600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晶端关注实习生生活，助力实习生成长</a:t>
            </a:r>
            <a:endParaRPr kumimoji="0" lang="zh-CN" altLang="en-US" sz="2600" b="1" i="0" u="sng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15950" y="2181225"/>
            <a:ext cx="8683625" cy="4397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275" b="1" i="0" u="sng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特邀第三方汇思管理学院定制实习生体验课程</a:t>
            </a:r>
            <a:endParaRPr kumimoji="0" lang="zh-CN" altLang="en-US" sz="2275" b="1" i="0" u="sng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</p:spTree>
    <p:custDataLst>
      <p:tags r:id="rId2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标题 81921"/>
          <p:cNvSpPr>
            <a:spLocks noGrp="1"/>
          </p:cNvSpPr>
          <p:nvPr>
            <p:ph type="title"/>
          </p:nvPr>
        </p:nvSpPr>
        <p:spPr>
          <a:xfrm>
            <a:off x="290513" y="220663"/>
            <a:ext cx="9329737" cy="431800"/>
          </a:xfrm>
        </p:spPr>
        <p:txBody>
          <a:bodyPr lIns="91438" tIns="45718" rIns="91438" bIns="45718" anchor="ctr"/>
          <a:lstStyle/>
          <a:p>
            <a:pPr defTabSz="455295"/>
            <a:r>
              <a:rPr kumimoji="1" lang="zh-CN" altLang="en-US" sz="4000" kern="1200" dirty="0">
                <a:latin typeface="+mj-lt"/>
                <a:ea typeface="新宋体" panose="02010609030101010101" pitchFamily="49" charset="-122"/>
                <a:cs typeface="MS PGothic" panose="020B0600070205080204" pitchFamily="34" charset="-128"/>
              </a:rPr>
              <a:t>了解你将要来到的城市</a:t>
            </a:r>
            <a:endParaRPr kumimoji="1" lang="zh-CN" altLang="en-US" sz="4000" kern="1200" dirty="0">
              <a:latin typeface="+mj-lt"/>
              <a:ea typeface="新宋体" panose="02010609030101010101" pitchFamily="49" charset="-122"/>
              <a:cs typeface="MS PGothic" panose="020B0600070205080204" pitchFamily="34" charset="-128"/>
            </a:endParaRPr>
          </a:p>
        </p:txBody>
      </p:sp>
      <p:sp>
        <p:nvSpPr>
          <p:cNvPr id="81923" name="文本占位符 81922"/>
          <p:cNvSpPr>
            <a:spLocks noGrp="1"/>
          </p:cNvSpPr>
          <p:nvPr>
            <p:ph type="body" idx="1"/>
          </p:nvPr>
        </p:nvSpPr>
        <p:spPr>
          <a:xfrm>
            <a:off x="419100" y="1358900"/>
            <a:ext cx="8915400" cy="4525963"/>
          </a:xfrm>
          <a:noFill/>
          <a:ln>
            <a:noFill/>
          </a:ln>
        </p:spPr>
        <p:txBody>
          <a:bodyPr/>
          <a:lstStyle/>
          <a:p>
            <a:pPr defTabSz="455295">
              <a:lnSpc>
                <a:spcPct val="90000"/>
              </a:lnSpc>
            </a:pPr>
            <a:r>
              <a:rPr kumimoji="1" lang="zh-CN" altLang="en-US" b="1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苏州（</a:t>
            </a:r>
            <a:r>
              <a:rPr kumimoji="1" lang="en-US" altLang="zh-CN" b="1" kern="120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Suzhou</a:t>
            </a:r>
            <a:r>
              <a:rPr kumimoji="1" lang="zh-CN" altLang="en-US" b="1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），</a:t>
            </a:r>
            <a:r>
              <a:rPr kumimoji="1" lang="zh-CN" altLang="en-US" sz="2400" b="1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1"/>
              </a:rPr>
              <a:t>中国</a:t>
            </a:r>
            <a:r>
              <a:rPr kumimoji="1" lang="zh-CN" altLang="en-US" sz="2400" b="1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华东地区的</a:t>
            </a:r>
            <a:r>
              <a:rPr kumimoji="1" lang="zh-CN" altLang="en-US" sz="2400" b="1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2"/>
              </a:rPr>
              <a:t>特大城市</a:t>
            </a:r>
            <a:r>
              <a:rPr kumimoji="1" lang="zh-CN" altLang="en-US" sz="2400" b="1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之一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，全国首批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3"/>
              </a:rPr>
              <a:t>历史文化名城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，</a:t>
            </a:r>
            <a:r>
              <a:rPr kumimoji="1" lang="zh-CN" altLang="en-US" sz="2400" b="1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中国十大重点风景旅游城市之一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。地处</a:t>
            </a:r>
            <a:r>
              <a:rPr kumimoji="1" lang="zh-CN" altLang="en-US" sz="2400" b="1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4"/>
              </a:rPr>
              <a:t>长江三角洲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，位于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5"/>
              </a:rPr>
              <a:t>江苏省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东南部东邻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6"/>
              </a:rPr>
              <a:t>上海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，濒临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7"/>
              </a:rPr>
              <a:t>东海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；西抱太湖，背靠无锡，隔湖遥望常州；南临浙江，与嘉兴接壤，所辖太湖水面紧邻湖州；东北枕长江，与南通、泰州隔江相望</a:t>
            </a:r>
            <a:r>
              <a:rPr kumimoji="1" lang="zh-CN" altLang="en-US" sz="2400" kern="1200" dirty="0">
                <a:latin typeface="+mn-lt"/>
                <a:ea typeface="MS PGothic" panose="020B0600070205080204" pitchFamily="34" charset="-128"/>
                <a:cs typeface="MS PGothic" panose="020B0600070205080204" pitchFamily="34" charset="-128"/>
              </a:rPr>
              <a:t> 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。苏州历史悠久，人文荟萃，以“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8"/>
              </a:rPr>
              <a:t>上有天堂，下有苏杭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”而驰声海内，秀丽、典雅且有“甲江南”声名的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9"/>
              </a:rPr>
              <a:t>苏州园林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，小桥流水环绕姑苏城内，令人心驰神往。苏州是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  <a:hlinkClick r:id="rId4"/>
              </a:rPr>
              <a:t>长江三角洲</a:t>
            </a:r>
            <a:r>
              <a:rPr kumimoji="1" lang="zh-CN" altLang="en-US" sz="24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经济圈北翼重要的副中心城市之一，苏州作为一座现代化程度较高的城市，是江苏省重要的经济、对外贸易、工商业中心和重要的文化、艺术、教育和交通枢纽，同时中国最具经济活力城市、国家卫生城市、国家环保模范城市和全国文明城市之一。</a:t>
            </a:r>
            <a:r>
              <a:rPr kumimoji="1" lang="zh-CN" altLang="en-US" sz="2400" kern="1200" dirty="0">
                <a:latin typeface="+mn-lt"/>
                <a:ea typeface="MS PGothic" panose="020B0600070205080204" pitchFamily="34" charset="-128"/>
                <a:cs typeface="MS PGothic" panose="020B0600070205080204" pitchFamily="34" charset="-128"/>
              </a:rPr>
              <a:t> </a:t>
            </a:r>
            <a:endParaRPr kumimoji="1" lang="zh-CN" altLang="en-US" sz="2400" kern="1200" dirty="0">
              <a:latin typeface="+mn-lt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标题 1"/>
          <p:cNvSpPr>
            <a:spLocks noGrp="1"/>
          </p:cNvSpPr>
          <p:nvPr>
            <p:ph type="title"/>
          </p:nvPr>
        </p:nvSpPr>
        <p:spPr>
          <a:xfrm>
            <a:off x="392113" y="223838"/>
            <a:ext cx="9077325" cy="431800"/>
          </a:xfrm>
        </p:spPr>
        <p:txBody>
          <a:bodyPr vert="horz" wrap="square" lIns="91438" tIns="45718" rIns="91438" bIns="45718" anchor="ctr"/>
          <a:lstStyle/>
          <a:p>
            <a:pPr defTabSz="455295"/>
            <a:r>
              <a:rPr lang="en-US" altLang="zh-CN" sz="24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1</a:t>
            </a:r>
            <a:r>
              <a:rPr lang="zh-CN" altLang="en-US" sz="24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、学习：实习生定制课程</a:t>
            </a:r>
            <a:endParaRPr lang="zh-CN" altLang="en-US" sz="24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  <p:pic>
        <p:nvPicPr>
          <p:cNvPr id="33795" name="图片 10" descr="培训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6213" y="4405313"/>
            <a:ext cx="2736850" cy="171608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3796" name="图片 12" descr="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1075" y="4406900"/>
            <a:ext cx="2903538" cy="17145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3797" name="图片 20" descr="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2775" y="4408488"/>
            <a:ext cx="2732088" cy="171291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5" name="文本框 14"/>
          <p:cNvSpPr txBox="1"/>
          <p:nvPr/>
        </p:nvSpPr>
        <p:spPr>
          <a:xfrm>
            <a:off x="71438" y="3875088"/>
            <a:ext cx="2689225" cy="55403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初入职场，实现角色转变，正确认识学校和职场的差距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ea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05238" y="2805113"/>
            <a:ext cx="2619375" cy="55403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为何有些人可以备受领导青睐，快速晋升，而你不行？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6962775" y="2424113"/>
            <a:ext cx="2540000" cy="55403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如何做好企业</a:t>
            </a:r>
            <a:r>
              <a:rPr kumimoji="0" lang="en-US" altLang="zh-CN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“</a:t>
            </a: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上通下达</a:t>
            </a:r>
            <a:r>
              <a:rPr kumimoji="0" lang="en-US" altLang="zh-CN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”</a:t>
            </a: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的管理中枢，实现自身价值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  <a:sym typeface="+mn-ea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471488" y="3117850"/>
            <a:ext cx="1519238" cy="700088"/>
          </a:xfrm>
          <a:prstGeom prst="rect">
            <a:avLst/>
          </a:prstGeom>
          <a:noFill/>
          <a:ln w="28575" cmpd="sng">
            <a:solidFill>
              <a:schemeClr val="accent1">
                <a:shade val="50000"/>
              </a:schemeClr>
            </a:solidFill>
            <a:prstDash val="sysDot"/>
          </a:ln>
        </p:spPr>
        <p:txBody>
          <a:bodyPr>
            <a:spAutoFit/>
          </a:bodyPr>
          <a:lstStyle/>
          <a:p>
            <a:pPr marL="0" marR="0" lvl="0" indent="0" algn="l" defTabSz="4552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None/>
              <a:defRPr/>
            </a:pPr>
            <a:endParaRPr kumimoji="0" lang="zh-CN" altLang="en-US" sz="1300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285750" marR="0" lvl="0" indent="-285750" algn="l" defTabSz="4552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kumimoji="0" lang="zh-CN" altLang="en-US" sz="1300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职业素养</a:t>
            </a:r>
            <a:endParaRPr kumimoji="0" lang="zh-CN" altLang="en-US" sz="1300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  <a:p>
            <a:pPr marL="285750" marR="0" lvl="0" indent="-285750" algn="l" defTabSz="4552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ü"/>
              <a:defRPr/>
            </a:pPr>
            <a:r>
              <a:rPr kumimoji="0" lang="zh-CN" altLang="en-US" sz="1300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沟通技巧</a:t>
            </a:r>
            <a:endParaRPr kumimoji="0" lang="zh-CN" altLang="en-US" sz="1300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22" name="文本框 21"/>
          <p:cNvSpPr txBox="1"/>
          <p:nvPr>
            <p:custDataLst>
              <p:tags r:id="rId4"/>
            </p:custDataLst>
          </p:nvPr>
        </p:nvSpPr>
        <p:spPr>
          <a:xfrm>
            <a:off x="471488" y="2711450"/>
            <a:ext cx="1150938" cy="1968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marL="0" marR="0" lvl="0" indent="0" algn="ctr" defTabSz="4552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25" b="1" i="0" u="none" strike="noStrike" kern="1200" cap="none" spc="0" normalizeH="0" baseline="0" noProof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01</a:t>
            </a:r>
            <a:r>
              <a:rPr kumimoji="0" lang="zh-CN" altLang="en-US" sz="1625" b="1" i="0" u="none" strike="noStrike" kern="1200" cap="none" spc="0" normalizeH="0" baseline="0" noProof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职场必备</a:t>
            </a:r>
            <a:endParaRPr kumimoji="0" lang="zh-CN" altLang="en-US" sz="1625" b="1" i="0" u="none" strike="noStrike" kern="1200" cap="none" spc="0" normalizeH="0" baseline="0" noProof="1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33803" name="文本框 11"/>
          <p:cNvSpPr txBox="1"/>
          <p:nvPr/>
        </p:nvSpPr>
        <p:spPr>
          <a:xfrm>
            <a:off x="3854450" y="1906588"/>
            <a:ext cx="2036763" cy="501650"/>
          </a:xfrm>
          <a:prstGeom prst="rect">
            <a:avLst/>
          </a:prstGeom>
          <a:noFill/>
          <a:ln w="28575" cap="flat" cmpd="sng">
            <a:solidFill>
              <a:srgbClr val="385D8A"/>
            </a:solidFill>
            <a:prstDash val="sysDot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 marL="285750" lvl="0" indent="-285750" eaLnBrk="1" hangingPunct="1">
              <a:buFont typeface="Wingdings" panose="05000000000000000000" pitchFamily="2" charset="2"/>
              <a:buChar char="ü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职场达人生存秘笈</a:t>
            </a:r>
            <a:endParaRPr lang="zh-CN" altLang="en-US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 eaLnBrk="1" hangingPunct="1">
              <a:buFont typeface="Wingdings" panose="05000000000000000000" pitchFamily="2" charset="2"/>
              <a:buChar char="ü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我鉴定与改善</a:t>
            </a:r>
            <a:endParaRPr lang="zh-CN" altLang="en-US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任意多边形 34"/>
          <p:cNvSpPr/>
          <p:nvPr>
            <p:custDataLst>
              <p:tags r:id="rId5"/>
            </p:custDataLst>
          </p:nvPr>
        </p:nvSpPr>
        <p:spPr>
          <a:xfrm>
            <a:off x="522288" y="2282825"/>
            <a:ext cx="9032875" cy="801688"/>
          </a:xfrm>
          <a:custGeom>
            <a:avLst/>
            <a:gdLst>
              <a:gd name="connsiteX0" fmla="*/ 0 w 7506788"/>
              <a:gd name="connsiteY0" fmla="*/ 2960914 h 2960914"/>
              <a:gd name="connsiteX1" fmla="*/ 1132114 w 7506788"/>
              <a:gd name="connsiteY1" fmla="*/ 2960914 h 2960914"/>
              <a:gd name="connsiteX2" fmla="*/ 1132114 w 7506788"/>
              <a:gd name="connsiteY2" fmla="*/ 2464526 h 2960914"/>
              <a:gd name="connsiteX3" fmla="*/ 2429691 w 7506788"/>
              <a:gd name="connsiteY3" fmla="*/ 2464526 h 2960914"/>
              <a:gd name="connsiteX4" fmla="*/ 2429691 w 7506788"/>
              <a:gd name="connsiteY4" fmla="*/ 1950720 h 2960914"/>
              <a:gd name="connsiteX5" fmla="*/ 3701143 w 7506788"/>
              <a:gd name="connsiteY5" fmla="*/ 1950720 h 2960914"/>
              <a:gd name="connsiteX6" fmla="*/ 3701143 w 7506788"/>
              <a:gd name="connsiteY6" fmla="*/ 1358537 h 2960914"/>
              <a:gd name="connsiteX7" fmla="*/ 5007428 w 7506788"/>
              <a:gd name="connsiteY7" fmla="*/ 1358537 h 2960914"/>
              <a:gd name="connsiteX8" fmla="*/ 5007428 w 7506788"/>
              <a:gd name="connsiteY8" fmla="*/ 670560 h 2960914"/>
              <a:gd name="connsiteX9" fmla="*/ 6226628 w 7506788"/>
              <a:gd name="connsiteY9" fmla="*/ 670560 h 2960914"/>
              <a:gd name="connsiteX10" fmla="*/ 6226628 w 7506788"/>
              <a:gd name="connsiteY10" fmla="*/ 0 h 2960914"/>
              <a:gd name="connsiteX11" fmla="*/ 7506788 w 7506788"/>
              <a:gd name="connsiteY11" fmla="*/ 0 h 2960914"/>
              <a:gd name="connsiteX0-1" fmla="*/ 0 w 7376159"/>
              <a:gd name="connsiteY0-2" fmla="*/ 2969623 h 2969623"/>
              <a:gd name="connsiteX1-3" fmla="*/ 1132114 w 7376159"/>
              <a:gd name="connsiteY1-4" fmla="*/ 2969623 h 2969623"/>
              <a:gd name="connsiteX2-5" fmla="*/ 1132114 w 7376159"/>
              <a:gd name="connsiteY2-6" fmla="*/ 2473235 h 2969623"/>
              <a:gd name="connsiteX3-7" fmla="*/ 2429691 w 7376159"/>
              <a:gd name="connsiteY3-8" fmla="*/ 2473235 h 2969623"/>
              <a:gd name="connsiteX4-9" fmla="*/ 2429691 w 7376159"/>
              <a:gd name="connsiteY4-10" fmla="*/ 1959429 h 2969623"/>
              <a:gd name="connsiteX5-11" fmla="*/ 3701143 w 7376159"/>
              <a:gd name="connsiteY5-12" fmla="*/ 1959429 h 2969623"/>
              <a:gd name="connsiteX6-13" fmla="*/ 3701143 w 7376159"/>
              <a:gd name="connsiteY6-14" fmla="*/ 1367246 h 2969623"/>
              <a:gd name="connsiteX7-15" fmla="*/ 5007428 w 7376159"/>
              <a:gd name="connsiteY7-16" fmla="*/ 1367246 h 2969623"/>
              <a:gd name="connsiteX8-17" fmla="*/ 5007428 w 7376159"/>
              <a:gd name="connsiteY8-18" fmla="*/ 679269 h 2969623"/>
              <a:gd name="connsiteX9-19" fmla="*/ 6226628 w 7376159"/>
              <a:gd name="connsiteY9-20" fmla="*/ 679269 h 2969623"/>
              <a:gd name="connsiteX10-21" fmla="*/ 6226628 w 7376159"/>
              <a:gd name="connsiteY10-22" fmla="*/ 8709 h 2969623"/>
              <a:gd name="connsiteX11-23" fmla="*/ 7376159 w 7376159"/>
              <a:gd name="connsiteY11-24" fmla="*/ 0 h 2969623"/>
              <a:gd name="connsiteX0-25" fmla="*/ 0 w 6244045"/>
              <a:gd name="connsiteY0-26" fmla="*/ 2969623 h 2969623"/>
              <a:gd name="connsiteX1-27" fmla="*/ 0 w 6244045"/>
              <a:gd name="connsiteY1-28" fmla="*/ 2473235 h 2969623"/>
              <a:gd name="connsiteX2-29" fmla="*/ 1297577 w 6244045"/>
              <a:gd name="connsiteY2-30" fmla="*/ 2473235 h 2969623"/>
              <a:gd name="connsiteX3-31" fmla="*/ 1297577 w 6244045"/>
              <a:gd name="connsiteY3-32" fmla="*/ 1959429 h 2969623"/>
              <a:gd name="connsiteX4-33" fmla="*/ 2569029 w 6244045"/>
              <a:gd name="connsiteY4-34" fmla="*/ 1959429 h 2969623"/>
              <a:gd name="connsiteX5-35" fmla="*/ 2569029 w 6244045"/>
              <a:gd name="connsiteY5-36" fmla="*/ 1367246 h 2969623"/>
              <a:gd name="connsiteX6-37" fmla="*/ 3875314 w 6244045"/>
              <a:gd name="connsiteY6-38" fmla="*/ 1367246 h 2969623"/>
              <a:gd name="connsiteX7-39" fmla="*/ 3875314 w 6244045"/>
              <a:gd name="connsiteY7-40" fmla="*/ 679269 h 2969623"/>
              <a:gd name="connsiteX8-41" fmla="*/ 5094514 w 6244045"/>
              <a:gd name="connsiteY8-42" fmla="*/ 679269 h 2969623"/>
              <a:gd name="connsiteX9-43" fmla="*/ 5094514 w 6244045"/>
              <a:gd name="connsiteY9-44" fmla="*/ 8709 h 2969623"/>
              <a:gd name="connsiteX10-45" fmla="*/ 6244045 w 6244045"/>
              <a:gd name="connsiteY10-46" fmla="*/ 0 h 2969623"/>
              <a:gd name="connsiteX0-47" fmla="*/ 0 w 6244045"/>
              <a:gd name="connsiteY0-48" fmla="*/ 2473235 h 2473235"/>
              <a:gd name="connsiteX1-49" fmla="*/ 1297577 w 6244045"/>
              <a:gd name="connsiteY1-50" fmla="*/ 2473235 h 2473235"/>
              <a:gd name="connsiteX2-51" fmla="*/ 1297577 w 6244045"/>
              <a:gd name="connsiteY2-52" fmla="*/ 1959429 h 2473235"/>
              <a:gd name="connsiteX3-53" fmla="*/ 2569029 w 6244045"/>
              <a:gd name="connsiteY3-54" fmla="*/ 1959429 h 2473235"/>
              <a:gd name="connsiteX4-55" fmla="*/ 2569029 w 6244045"/>
              <a:gd name="connsiteY4-56" fmla="*/ 1367246 h 2473235"/>
              <a:gd name="connsiteX5-57" fmla="*/ 3875314 w 6244045"/>
              <a:gd name="connsiteY5-58" fmla="*/ 1367246 h 2473235"/>
              <a:gd name="connsiteX6-59" fmla="*/ 3875314 w 6244045"/>
              <a:gd name="connsiteY6-60" fmla="*/ 679269 h 2473235"/>
              <a:gd name="connsiteX7-61" fmla="*/ 5094514 w 6244045"/>
              <a:gd name="connsiteY7-62" fmla="*/ 679269 h 2473235"/>
              <a:gd name="connsiteX8-63" fmla="*/ 5094514 w 6244045"/>
              <a:gd name="connsiteY8-64" fmla="*/ 8709 h 2473235"/>
              <a:gd name="connsiteX9-65" fmla="*/ 6244045 w 6244045"/>
              <a:gd name="connsiteY9-66" fmla="*/ 0 h 2473235"/>
              <a:gd name="connsiteX0-67" fmla="*/ 0 w 6075448"/>
              <a:gd name="connsiteY0-68" fmla="*/ 2473235 h 2473235"/>
              <a:gd name="connsiteX1-69" fmla="*/ 1128980 w 6075448"/>
              <a:gd name="connsiteY1-70" fmla="*/ 2473235 h 2473235"/>
              <a:gd name="connsiteX2-71" fmla="*/ 1128980 w 6075448"/>
              <a:gd name="connsiteY2-72" fmla="*/ 1959429 h 2473235"/>
              <a:gd name="connsiteX3-73" fmla="*/ 2400432 w 6075448"/>
              <a:gd name="connsiteY3-74" fmla="*/ 1959429 h 2473235"/>
              <a:gd name="connsiteX4-75" fmla="*/ 2400432 w 6075448"/>
              <a:gd name="connsiteY4-76" fmla="*/ 1367246 h 2473235"/>
              <a:gd name="connsiteX5-77" fmla="*/ 3706717 w 6075448"/>
              <a:gd name="connsiteY5-78" fmla="*/ 1367246 h 2473235"/>
              <a:gd name="connsiteX6-79" fmla="*/ 3706717 w 6075448"/>
              <a:gd name="connsiteY6-80" fmla="*/ 679269 h 2473235"/>
              <a:gd name="connsiteX7-81" fmla="*/ 4925917 w 6075448"/>
              <a:gd name="connsiteY7-82" fmla="*/ 679269 h 2473235"/>
              <a:gd name="connsiteX8-83" fmla="*/ 4925917 w 6075448"/>
              <a:gd name="connsiteY8-84" fmla="*/ 8709 h 2473235"/>
              <a:gd name="connsiteX9-85" fmla="*/ 6075448 w 6075448"/>
              <a:gd name="connsiteY9-86" fmla="*/ 0 h 2473235"/>
              <a:gd name="connsiteX0-87" fmla="*/ 0 w 4946468"/>
              <a:gd name="connsiteY0-88" fmla="*/ 2473235 h 2473235"/>
              <a:gd name="connsiteX1-89" fmla="*/ 0 w 4946468"/>
              <a:gd name="connsiteY1-90" fmla="*/ 1959429 h 2473235"/>
              <a:gd name="connsiteX2-91" fmla="*/ 1271452 w 4946468"/>
              <a:gd name="connsiteY2-92" fmla="*/ 1959429 h 2473235"/>
              <a:gd name="connsiteX3-93" fmla="*/ 1271452 w 4946468"/>
              <a:gd name="connsiteY3-94" fmla="*/ 1367246 h 2473235"/>
              <a:gd name="connsiteX4-95" fmla="*/ 2577737 w 4946468"/>
              <a:gd name="connsiteY4-96" fmla="*/ 1367246 h 2473235"/>
              <a:gd name="connsiteX5-97" fmla="*/ 2577737 w 4946468"/>
              <a:gd name="connsiteY5-98" fmla="*/ 679269 h 2473235"/>
              <a:gd name="connsiteX6-99" fmla="*/ 3796937 w 4946468"/>
              <a:gd name="connsiteY6-100" fmla="*/ 679269 h 2473235"/>
              <a:gd name="connsiteX7-101" fmla="*/ 3796937 w 4946468"/>
              <a:gd name="connsiteY7-102" fmla="*/ 8709 h 2473235"/>
              <a:gd name="connsiteX8-103" fmla="*/ 4946468 w 4946468"/>
              <a:gd name="connsiteY8-104" fmla="*/ 0 h 2473235"/>
              <a:gd name="connsiteX0-105" fmla="*/ 0 w 4946468"/>
              <a:gd name="connsiteY0-106" fmla="*/ 1959429 h 1959429"/>
              <a:gd name="connsiteX1-107" fmla="*/ 1271452 w 4946468"/>
              <a:gd name="connsiteY1-108" fmla="*/ 1959429 h 1959429"/>
              <a:gd name="connsiteX2-109" fmla="*/ 1271452 w 4946468"/>
              <a:gd name="connsiteY2-110" fmla="*/ 1367246 h 1959429"/>
              <a:gd name="connsiteX3-111" fmla="*/ 2577737 w 4946468"/>
              <a:gd name="connsiteY3-112" fmla="*/ 1367246 h 1959429"/>
              <a:gd name="connsiteX4-113" fmla="*/ 2577737 w 4946468"/>
              <a:gd name="connsiteY4-114" fmla="*/ 679269 h 1959429"/>
              <a:gd name="connsiteX5-115" fmla="*/ 3796937 w 4946468"/>
              <a:gd name="connsiteY5-116" fmla="*/ 679269 h 1959429"/>
              <a:gd name="connsiteX6-117" fmla="*/ 3796937 w 4946468"/>
              <a:gd name="connsiteY6-118" fmla="*/ 8709 h 1959429"/>
              <a:gd name="connsiteX7-119" fmla="*/ 4946468 w 4946468"/>
              <a:gd name="connsiteY7-120" fmla="*/ 0 h 1959429"/>
              <a:gd name="connsiteX0-121" fmla="*/ 0 w 3675016"/>
              <a:gd name="connsiteY0-122" fmla="*/ 1959429 h 1959429"/>
              <a:gd name="connsiteX1-123" fmla="*/ 0 w 3675016"/>
              <a:gd name="connsiteY1-124" fmla="*/ 1367246 h 1959429"/>
              <a:gd name="connsiteX2-125" fmla="*/ 1306285 w 3675016"/>
              <a:gd name="connsiteY2-126" fmla="*/ 1367246 h 1959429"/>
              <a:gd name="connsiteX3-127" fmla="*/ 1306285 w 3675016"/>
              <a:gd name="connsiteY3-128" fmla="*/ 679269 h 1959429"/>
              <a:gd name="connsiteX4-129" fmla="*/ 2525485 w 3675016"/>
              <a:gd name="connsiteY4-130" fmla="*/ 679269 h 1959429"/>
              <a:gd name="connsiteX5-131" fmla="*/ 2525485 w 3675016"/>
              <a:gd name="connsiteY5-132" fmla="*/ 8709 h 1959429"/>
              <a:gd name="connsiteX6-133" fmla="*/ 3675016 w 3675016"/>
              <a:gd name="connsiteY6-134" fmla="*/ 0 h 1959429"/>
              <a:gd name="connsiteX0-135" fmla="*/ 0 w 3675016"/>
              <a:gd name="connsiteY0-136" fmla="*/ 1367246 h 1367246"/>
              <a:gd name="connsiteX1-137" fmla="*/ 1306285 w 3675016"/>
              <a:gd name="connsiteY1-138" fmla="*/ 1367246 h 1367246"/>
              <a:gd name="connsiteX2-139" fmla="*/ 1306285 w 3675016"/>
              <a:gd name="connsiteY2-140" fmla="*/ 679269 h 1367246"/>
              <a:gd name="connsiteX3-141" fmla="*/ 2525485 w 3675016"/>
              <a:gd name="connsiteY3-142" fmla="*/ 679269 h 1367246"/>
              <a:gd name="connsiteX4-143" fmla="*/ 2525485 w 3675016"/>
              <a:gd name="connsiteY4-144" fmla="*/ 8709 h 1367246"/>
              <a:gd name="connsiteX5-145" fmla="*/ 3675016 w 3675016"/>
              <a:gd name="connsiteY5-146" fmla="*/ 0 h 1367246"/>
            </a:gdLst>
            <a:ahLst/>
            <a:cxnLst>
              <a:cxn ang="0">
                <a:pos x="connsiteX0-135" y="connsiteY0-136"/>
              </a:cxn>
              <a:cxn ang="0">
                <a:pos x="connsiteX1-137" y="connsiteY1-138"/>
              </a:cxn>
              <a:cxn ang="0">
                <a:pos x="connsiteX2-139" y="connsiteY2-140"/>
              </a:cxn>
              <a:cxn ang="0">
                <a:pos x="connsiteX3-141" y="connsiteY3-142"/>
              </a:cxn>
              <a:cxn ang="0">
                <a:pos x="connsiteX4-143" y="connsiteY4-144"/>
              </a:cxn>
              <a:cxn ang="0">
                <a:pos x="connsiteX5-145" y="connsiteY5-146"/>
              </a:cxn>
            </a:cxnLst>
            <a:rect l="l" t="t" r="r" b="b"/>
            <a:pathLst>
              <a:path w="3675016" h="1367246">
                <a:moveTo>
                  <a:pt x="0" y="1367246"/>
                </a:moveTo>
                <a:lnTo>
                  <a:pt x="1306285" y="1367246"/>
                </a:lnTo>
                <a:lnTo>
                  <a:pt x="1306285" y="679269"/>
                </a:lnTo>
                <a:lnTo>
                  <a:pt x="2525485" y="679269"/>
                </a:lnTo>
                <a:lnTo>
                  <a:pt x="2525485" y="8709"/>
                </a:lnTo>
                <a:lnTo>
                  <a:pt x="3675016" y="0"/>
                </a:lnTo>
              </a:path>
            </a:pathLst>
          </a:cu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8" name="标题 1"/>
          <p:cNvSpPr txBox="1"/>
          <p:nvPr>
            <p:custDataLst>
              <p:tags r:id="rId6"/>
            </p:custDataLst>
          </p:nvPr>
        </p:nvSpPr>
        <p:spPr>
          <a:xfrm>
            <a:off x="3854450" y="1438275"/>
            <a:ext cx="1639888" cy="409575"/>
          </a:xfrm>
          <a:prstGeom prst="rect">
            <a:avLst/>
          </a:prstGeom>
          <a:noFill/>
        </p:spPr>
        <p:txBody>
          <a:bodyPr>
            <a:normAutofit/>
          </a:bodyPr>
          <a:lstStyle>
            <a:defPPr>
              <a:defRPr lang="zh-CN"/>
            </a:defPPr>
            <a:lvl1pPr>
              <a:lnSpc>
                <a:spcPct val="130000"/>
              </a:lnSpc>
              <a:defRPr sz="1200"/>
            </a:lvl1pPr>
          </a:lstStyle>
          <a:p>
            <a:pPr marL="0" marR="0" lvl="0" indent="0" algn="ctr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625" b="1" i="0" u="none" strike="noStrike" kern="1200" cap="none" spc="0" normalizeH="0" baseline="0" noProof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02</a:t>
            </a:r>
            <a:r>
              <a:rPr kumimoji="0" lang="zh-CN" altLang="en-US" sz="1625" b="1" i="0" u="none" strike="noStrike" kern="1200" cap="none" spc="0" normalizeH="0" baseline="0" noProof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晋升捷径</a:t>
            </a:r>
            <a:endParaRPr kumimoji="0" lang="zh-CN" altLang="en-US" sz="1625" b="1" i="0" u="none" strike="noStrike" kern="1200" cap="none" spc="0" normalizeH="0" baseline="0" noProof="1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  <a:sym typeface="+mn-ea"/>
            </a:endParaRPr>
          </a:p>
          <a:p>
            <a:pPr marL="0" marR="0" lvl="0" indent="0" algn="ctr" defTabSz="455295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altLang="zh-CN" sz="1465" b="1" i="0" u="none" strike="noStrike" kern="1200" cap="none" spc="0" normalizeH="0" baseline="0" noProof="1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46038" y="1327150"/>
            <a:ext cx="3475038" cy="976313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rgbClr val="019FE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  <a:sym typeface="黑体" panose="02010609060101010101" pitchFamily="49" charset="-122"/>
            </a:endParaRPr>
          </a:p>
          <a:p>
            <a:pPr marL="285750" marR="0" lvl="0" indent="-28575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n"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黑体" panose="02010609060101010101" pitchFamily="49" charset="-122"/>
              </a:rPr>
              <a:t>通过就业实习，培养专业技能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  <a:sym typeface="黑体" panose="02010609060101010101" pitchFamily="49" charset="-122"/>
            </a:endParaRPr>
          </a:p>
          <a:p>
            <a:pPr marL="285750" marR="0" lvl="0" indent="-28575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charset="0"/>
              <a:buChar char="n"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黑体" panose="02010609060101010101" pitchFamily="49" charset="-122"/>
              </a:rPr>
              <a:t>通过在职课程，提升个人素质和学识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  <a:sym typeface="黑体" panose="02010609060101010101" pitchFamily="49" charset="-122"/>
            </a:endParaRPr>
          </a:p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defRPr/>
            </a:pPr>
            <a:endParaRPr kumimoji="0" lang="zh-CN" altLang="en-US" sz="1300" b="1" i="0" u="none" strike="noStrike" kern="1200" cap="none" spc="0" normalizeH="0" baseline="0" noProof="1">
              <a:ln>
                <a:noFill/>
              </a:ln>
              <a:solidFill>
                <a:srgbClr val="019FE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  <a:sym typeface="黑体" panose="02010609060101010101" pitchFamily="49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7115175" y="1116013"/>
            <a:ext cx="2093913" cy="357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sz="1625" b="1" i="0" u="none" strike="noStrike" kern="1200" cap="none" spc="0" normalizeH="0" baseline="0" noProof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03</a:t>
            </a:r>
            <a:r>
              <a:rPr kumimoji="0" lang="zh-CN" altLang="en-US" sz="1625" b="1" i="0" u="none" strike="noStrike" kern="1200" cap="none" spc="0" normalizeH="0" baseline="0" noProof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激发管理领导潜能</a:t>
            </a:r>
            <a:endParaRPr kumimoji="0" lang="zh-CN" altLang="en-US" sz="1625" b="1" i="0" u="none" strike="noStrike" kern="1200" cap="none" spc="0" normalizeH="0" baseline="0" noProof="1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  <a:sym typeface="+mn-ea"/>
            </a:endParaRPr>
          </a:p>
        </p:txBody>
      </p:sp>
      <p:sp>
        <p:nvSpPr>
          <p:cNvPr id="33808" name="文本框 2"/>
          <p:cNvSpPr txBox="1"/>
          <p:nvPr/>
        </p:nvSpPr>
        <p:spPr>
          <a:xfrm>
            <a:off x="6791325" y="1527175"/>
            <a:ext cx="1779588" cy="501650"/>
          </a:xfrm>
          <a:prstGeom prst="rect">
            <a:avLst/>
          </a:prstGeom>
          <a:noFill/>
          <a:ln w="28575" cap="flat" cmpd="sng">
            <a:solidFill>
              <a:srgbClr val="385D8A"/>
            </a:solidFill>
            <a:prstDash val="sysDot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 marL="285750" lvl="0" indent="-285750" eaLnBrk="1" hangingPunct="1">
              <a:buFont typeface="Wingdings" panose="05000000000000000000" pitchFamily="2" charset="2"/>
              <a:buChar char="ü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教练型领导力</a:t>
            </a:r>
            <a:endParaRPr lang="zh-CN" altLang="en-US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lvl="0" indent="-285750" eaLnBrk="1" hangingPunct="1">
              <a:buFont typeface="Wingdings" panose="05000000000000000000" pitchFamily="2" charset="2"/>
              <a:buChar char="ü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层管理类课程</a:t>
            </a:r>
            <a:endParaRPr lang="zh-CN" altLang="en-US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7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818" name="组合 5"/>
          <p:cNvGrpSpPr/>
          <p:nvPr/>
        </p:nvGrpSpPr>
        <p:grpSpPr>
          <a:xfrm>
            <a:off x="2203450" y="2038350"/>
            <a:ext cx="2203450" cy="2220913"/>
            <a:chOff x="932957" y="2054989"/>
            <a:chExt cx="2340043" cy="2455661"/>
          </a:xfrm>
        </p:grpSpPr>
        <p:sp>
          <p:nvSpPr>
            <p:cNvPr id="289" name="MH_Other_2"/>
            <p:cNvSpPr/>
            <p:nvPr>
              <p:custDataLst>
                <p:tags r:id="rId1"/>
              </p:custDataLst>
            </p:nvPr>
          </p:nvSpPr>
          <p:spPr bwMode="auto">
            <a:xfrm rot="1220128">
              <a:off x="932957" y="2054989"/>
              <a:ext cx="2340043" cy="245566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25400" dist="38100" dir="2700000" algn="tl" rotWithShape="0">
                <a:prstClr val="black">
                  <a:alpha val="30000"/>
                </a:prstClr>
              </a:outerShdw>
            </a:effectLst>
          </p:spPr>
          <p:txBody>
            <a:bodyPr anchor="ctr">
              <a:norm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endParaRPr>
            </a:p>
          </p:txBody>
        </p:sp>
        <p:sp>
          <p:nvSpPr>
            <p:cNvPr id="290" name="MH_Picture_1"/>
            <p:cNvSpPr/>
            <p:nvPr>
              <p:custDataLst>
                <p:tags r:id="rId2"/>
              </p:custDataLst>
            </p:nvPr>
          </p:nvSpPr>
          <p:spPr bwMode="auto">
            <a:xfrm rot="1220128">
              <a:off x="1086711" y="2216339"/>
              <a:ext cx="2032540" cy="2132966"/>
            </a:xfrm>
            <a:prstGeom prst="rect">
              <a:avLst/>
            </a:prstGeom>
            <a:blipFill dpi="0"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16842" r="-16842"/>
              </a:stretch>
            </a:blipFill>
            <a:ln>
              <a:noFill/>
            </a:ln>
            <a:effectLst/>
          </p:spPr>
          <p:txBody>
            <a:bodyPr anchor="ctr">
              <a:norm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endParaRPr>
            </a:p>
          </p:txBody>
        </p:sp>
      </p:grpSp>
      <p:grpSp>
        <p:nvGrpSpPr>
          <p:cNvPr id="34819" name="组合 4"/>
          <p:cNvGrpSpPr/>
          <p:nvPr/>
        </p:nvGrpSpPr>
        <p:grpSpPr>
          <a:xfrm>
            <a:off x="4344988" y="1658938"/>
            <a:ext cx="2481262" cy="2833687"/>
            <a:chOff x="861055" y="3817989"/>
            <a:chExt cx="2833331" cy="3235396"/>
          </a:xfrm>
        </p:grpSpPr>
        <p:sp>
          <p:nvSpPr>
            <p:cNvPr id="292" name="MH_Other_3"/>
            <p:cNvSpPr/>
            <p:nvPr>
              <p:custDataLst>
                <p:tags r:id="rId4"/>
              </p:custDataLst>
            </p:nvPr>
          </p:nvSpPr>
          <p:spPr bwMode="auto">
            <a:xfrm rot="21074844">
              <a:off x="861055" y="3817989"/>
              <a:ext cx="2833331" cy="323539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25400" dist="50800" dir="2700000" algn="tl" rotWithShape="0">
                <a:prstClr val="black">
                  <a:alpha val="30000"/>
                </a:prstClr>
              </a:outerShdw>
            </a:effectLst>
          </p:spPr>
          <p:txBody>
            <a:bodyPr anchor="ctr">
              <a:norm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endParaRPr>
            </a:p>
          </p:txBody>
        </p:sp>
        <p:sp>
          <p:nvSpPr>
            <p:cNvPr id="293" name="MH_Picture_2"/>
            <p:cNvSpPr/>
            <p:nvPr>
              <p:custDataLst>
                <p:tags r:id="rId5"/>
              </p:custDataLst>
            </p:nvPr>
          </p:nvSpPr>
          <p:spPr bwMode="auto">
            <a:xfrm rot="21074844">
              <a:off x="1047221" y="4030568"/>
              <a:ext cx="2461006" cy="2810237"/>
            </a:xfrm>
            <a:prstGeom prst="rect">
              <a:avLst/>
            </a:prstGeom>
            <a:blipFill dpi="0"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35600" r="-35600"/>
              </a:stretch>
            </a:blipFill>
            <a:ln>
              <a:noFill/>
            </a:ln>
            <a:effectLst/>
          </p:spPr>
          <p:txBody>
            <a:bodyPr anchor="ctr">
              <a:norm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endParaRPr>
            </a:p>
          </p:txBody>
        </p:sp>
      </p:grpSp>
      <p:grpSp>
        <p:nvGrpSpPr>
          <p:cNvPr id="34820" name="组合 3"/>
          <p:cNvGrpSpPr/>
          <p:nvPr/>
        </p:nvGrpSpPr>
        <p:grpSpPr>
          <a:xfrm>
            <a:off x="6869113" y="1878013"/>
            <a:ext cx="2522537" cy="2540000"/>
            <a:chOff x="1008191" y="6070420"/>
            <a:chExt cx="2992310" cy="3348765"/>
          </a:xfrm>
        </p:grpSpPr>
        <p:sp>
          <p:nvSpPr>
            <p:cNvPr id="295" name="MH_Other_4"/>
            <p:cNvSpPr/>
            <p:nvPr>
              <p:custDataLst>
                <p:tags r:id="rId7"/>
              </p:custDataLst>
            </p:nvPr>
          </p:nvSpPr>
          <p:spPr bwMode="auto">
            <a:xfrm rot="20369574">
              <a:off x="1008191" y="6070420"/>
              <a:ext cx="2992310" cy="334876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25400" dist="63500" dir="2400000" algn="tl" rotWithShape="0">
                <a:prstClr val="black">
                  <a:alpha val="30000"/>
                </a:prstClr>
              </a:outerShdw>
            </a:effectLst>
          </p:spPr>
          <p:txBody>
            <a:bodyPr anchor="ctr">
              <a:norm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endParaRPr>
            </a:p>
          </p:txBody>
        </p:sp>
        <p:sp>
          <p:nvSpPr>
            <p:cNvPr id="296" name="MH_Picture_3"/>
            <p:cNvSpPr/>
            <p:nvPr>
              <p:custDataLst>
                <p:tags r:id="rId8"/>
              </p:custDataLst>
            </p:nvPr>
          </p:nvSpPr>
          <p:spPr bwMode="auto">
            <a:xfrm rot="20369574">
              <a:off x="1204800" y="6290448"/>
              <a:ext cx="2599095" cy="2908707"/>
            </a:xfrm>
            <a:prstGeom prst="rect">
              <a:avLst/>
            </a:prstGeom>
            <a:blipFill dpi="0"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42483" t="-2250" r="-33865" b="-3011"/>
              </a:stretch>
            </a:blipFill>
            <a:ln>
              <a:noFill/>
            </a:ln>
            <a:effectLst/>
          </p:spPr>
          <p:txBody>
            <a:bodyPr anchor="ctr">
              <a:normAutofit/>
            </a:bodyPr>
            <a:lstStyle/>
            <a:p>
              <a:pPr marL="0" marR="0" lvl="0" indent="0" algn="ctr" defTabSz="45529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ヒラギノ角ゴ Pro W3"/>
              </a:endParaRPr>
            </a:p>
          </p:txBody>
        </p:sp>
      </p:grpSp>
      <p:sp>
        <p:nvSpPr>
          <p:cNvPr id="11" name="文本框 10"/>
          <p:cNvSpPr txBox="1"/>
          <p:nvPr>
            <p:custDataLst>
              <p:tags r:id="rId10"/>
            </p:custDataLst>
          </p:nvPr>
        </p:nvSpPr>
        <p:spPr>
          <a:xfrm>
            <a:off x="217488" y="1327150"/>
            <a:ext cx="8543925" cy="1077913"/>
          </a:xfrm>
          <a:prstGeom prst="rect">
            <a:avLst/>
          </a:prstGeom>
        </p:spPr>
        <p:txBody>
          <a:bodyPr lIns="74295" tIns="37147" rIns="74295" bIns="37147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44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529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275" b="1" i="0" u="none" strike="noStrike" kern="1200" cap="none" spc="0" normalizeH="0" baseline="0" noProof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历届学生旅游集锦</a:t>
            </a:r>
            <a:endParaRPr kumimoji="0" lang="zh-CN" altLang="en-US" sz="2275" b="1" i="0" u="none" strike="noStrike" kern="1200" cap="none" spc="0" normalizeH="0" baseline="0" noProof="1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351088" y="4454525"/>
            <a:ext cx="1792288" cy="330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苏州乐活岛度假村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17488" y="4367213"/>
            <a:ext cx="2016125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乾隆三下江南木渎古镇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103813" y="4565650"/>
            <a:ext cx="146843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zh-CN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“</a:t>
            </a: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秀绝冠江南</a:t>
            </a:r>
            <a:r>
              <a:rPr kumimoji="0" lang="en-US" altLang="zh-CN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”</a:t>
            </a: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之称的灵岩山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9" name="矩形 8"/>
          <p:cNvSpPr/>
          <p:nvPr>
            <p:custDataLst>
              <p:tags r:id="rId11"/>
            </p:custDataLst>
          </p:nvPr>
        </p:nvSpPr>
        <p:spPr>
          <a:xfrm rot="20940000">
            <a:off x="26313" y="2363073"/>
            <a:ext cx="2640567" cy="1727875"/>
          </a:xfrm>
          <a:prstGeom prst="rect">
            <a:avLst/>
          </a:prstGeom>
          <a:blipFill rotWithShape="1">
            <a:blip r:embed="rId12"/>
            <a:srcRect/>
            <a:stretch>
              <a:fillRect l="-810" t="-2166" r="-23842" b="-2845"/>
            </a:stretch>
          </a:blipFill>
          <a:ln w="127000">
            <a:solidFill>
              <a:srgbClr val="FFFFFF"/>
            </a:solidFill>
          </a:ln>
        </p:spPr>
        <p:txBody>
          <a:bodyPr lIns="74295" tIns="37147" rIns="74295" bIns="37147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8118475" y="4483100"/>
            <a:ext cx="1638300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地跨苏锡常的太湖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2" name="矩形 21"/>
          <p:cNvSpPr/>
          <p:nvPr>
            <p:custDataLst>
              <p:tags r:id="rId13"/>
            </p:custDataLst>
          </p:nvPr>
        </p:nvSpPr>
        <p:spPr>
          <a:xfrm rot="20820000">
            <a:off x="1452563" y="5178425"/>
            <a:ext cx="4662488" cy="857250"/>
          </a:xfrm>
          <a:prstGeom prst="rect">
            <a:avLst/>
          </a:prstGeom>
          <a:noFill/>
        </p:spPr>
        <p:txBody>
          <a:bodyPr lIns="74295" tIns="37147" rIns="74295" bIns="37147" anchor="ctr">
            <a:normAutofit/>
          </a:bodyPr>
          <a:lstStyle/>
          <a:p>
            <a:pPr marL="0" marR="0" lvl="0" indent="0" algn="just" defTabSz="45529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生活不止眼前的苟且，还有诗和远方</a:t>
            </a:r>
            <a:endParaRPr kumimoji="0" lang="zh-CN" altLang="en-US" sz="1950" b="1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39953" name="标题 12"/>
          <p:cNvSpPr>
            <a:spLocks noGrp="1"/>
          </p:cNvSpPr>
          <p:nvPr>
            <p:ph type="title"/>
          </p:nvPr>
        </p:nvSpPr>
        <p:spPr>
          <a:xfrm>
            <a:off x="392113" y="223838"/>
            <a:ext cx="9077325" cy="431800"/>
          </a:xfrm>
        </p:spPr>
        <p:txBody>
          <a:bodyPr vert="horz" wrap="square" lIns="91438" tIns="45718" rIns="91438" bIns="45718" numCol="1" rtlCol="0" anchor="ctr" anchorCtr="0" compatLnSpc="1">
            <a:normAutofit fontScale="90000"/>
          </a:bodyPr>
          <a:lstStyle/>
          <a:p>
            <a:pPr marL="0" marR="0" lvl="0" indent="0" algn="l" defTabSz="4552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  <a:sym typeface="+mn-ea"/>
              </a:rPr>
              <a:t>2、旅行：实习生旅行计划</a:t>
            </a:r>
            <a:endParaRPr kumimoji="0" lang="en-US" altLang="zh-CN" sz="2400" b="1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  <a:sym typeface="+mn-ea"/>
            </a:endParaRPr>
          </a:p>
        </p:txBody>
      </p:sp>
    </p:spTree>
    <p:custDataLst>
      <p:tags r:id="rId14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标题 1"/>
          <p:cNvSpPr>
            <a:spLocks noGrp="1"/>
          </p:cNvSpPr>
          <p:nvPr>
            <p:ph type="title"/>
          </p:nvPr>
        </p:nvSpPr>
        <p:spPr>
          <a:xfrm>
            <a:off x="3449638" y="698500"/>
            <a:ext cx="3006725" cy="508000"/>
          </a:xfrm>
        </p:spPr>
        <p:txBody>
          <a:bodyPr vert="horz" wrap="square" lIns="91438" tIns="45718" rIns="91438" bIns="45718" anchor="ctr"/>
          <a:lstStyle/>
          <a:p>
            <a:pPr defTabSz="455295"/>
            <a:r>
              <a:rPr lang="en-US" altLang="zh-CN" sz="1600" kern="1200" dirty="0">
                <a:latin typeface="+mj-lt"/>
                <a:ea typeface="MS PGothic" panose="020B0600070205080204" pitchFamily="34" charset="-128"/>
                <a:cs typeface="MS PGothic" panose="020B0600070205080204" pitchFamily="34" charset="-128"/>
              </a:rPr>
              <a:t>3</a:t>
            </a:r>
            <a:r>
              <a:rPr lang="zh-CN" altLang="en-US" sz="1600" kern="1200" dirty="0">
                <a:latin typeface="+mj-lt"/>
                <a:ea typeface="MS PGothic" panose="020B0600070205080204" pitchFamily="34" charset="-128"/>
                <a:cs typeface="MS PGothic" panose="020B0600070205080204" pitchFamily="34" charset="-128"/>
              </a:rPr>
              <a:t>、体验：实习生专业拓展课程</a:t>
            </a:r>
            <a:endParaRPr lang="zh-CN" altLang="en-US" sz="1600" kern="1200" dirty="0">
              <a:latin typeface="+mj-lt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sp>
        <p:nvSpPr>
          <p:cNvPr id="42" name="圆角矩形 41"/>
          <p:cNvSpPr/>
          <p:nvPr>
            <p:custDataLst>
              <p:tags r:id="rId1"/>
            </p:custDataLst>
          </p:nvPr>
        </p:nvSpPr>
        <p:spPr>
          <a:xfrm>
            <a:off x="2625725" y="2439988"/>
            <a:ext cx="2406650" cy="2703513"/>
          </a:xfrm>
          <a:prstGeom prst="roundRect">
            <a:avLst/>
          </a:prstGeom>
          <a:solidFill>
            <a:srgbClr val="8D236F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7" name="圆角矩形 36"/>
          <p:cNvSpPr/>
          <p:nvPr>
            <p:custDataLst>
              <p:tags r:id="rId2"/>
            </p:custDataLst>
          </p:nvPr>
        </p:nvSpPr>
        <p:spPr>
          <a:xfrm>
            <a:off x="212725" y="2601913"/>
            <a:ext cx="2314575" cy="2328863"/>
          </a:xfrm>
          <a:prstGeom prst="roundRect">
            <a:avLst/>
          </a:prstGeom>
          <a:solidFill>
            <a:srgbClr val="8D236F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圆角矩形 13"/>
          <p:cNvSpPr/>
          <p:nvPr>
            <p:custDataLst>
              <p:tags r:id="rId3"/>
            </p:custDataLst>
          </p:nvPr>
        </p:nvSpPr>
        <p:spPr>
          <a:xfrm>
            <a:off x="351353" y="2690692"/>
            <a:ext cx="2118956" cy="2135467"/>
          </a:xfrm>
          <a:prstGeom prst="round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9108" t="-17924" r="-58498" b="-89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圆角矩形 14"/>
          <p:cNvSpPr/>
          <p:nvPr>
            <p:custDataLst>
              <p:tags r:id="rId5"/>
            </p:custDataLst>
          </p:nvPr>
        </p:nvSpPr>
        <p:spPr>
          <a:xfrm>
            <a:off x="2625605" y="2502376"/>
            <a:ext cx="2191703" cy="2579172"/>
          </a:xfrm>
          <a:prstGeom prst="round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38" t="-3515" r="-20836" b="-1989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7" name="斜纹 26"/>
          <p:cNvSpPr/>
          <p:nvPr>
            <p:custDataLst>
              <p:tags r:id="rId7"/>
            </p:custDataLst>
          </p:nvPr>
        </p:nvSpPr>
        <p:spPr>
          <a:xfrm>
            <a:off x="5068888" y="2613025"/>
            <a:ext cx="981075" cy="1163638"/>
          </a:xfrm>
          <a:prstGeom prst="diagStripe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0" name=" 220"/>
          <p:cNvSpPr/>
          <p:nvPr/>
        </p:nvSpPr>
        <p:spPr>
          <a:xfrm>
            <a:off x="455613" y="1917700"/>
            <a:ext cx="1508125" cy="439738"/>
          </a:xfrm>
          <a:prstGeom prst="homePlate">
            <a:avLst/>
          </a:prstGeom>
          <a:pattFill prst="pct2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52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自助烧烤</a:t>
            </a:r>
            <a:endParaRPr kumimoji="0" lang="zh-CN" altLang="en-US" sz="1950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 220"/>
          <p:cNvSpPr/>
          <p:nvPr/>
        </p:nvSpPr>
        <p:spPr>
          <a:xfrm>
            <a:off x="2817813" y="1917700"/>
            <a:ext cx="2000250" cy="439738"/>
          </a:xfrm>
          <a:prstGeom prst="homePlate">
            <a:avLst/>
          </a:prstGeom>
          <a:pattFill prst="pct2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52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拓展游戏</a:t>
            </a:r>
            <a:endParaRPr kumimoji="0" lang="zh-CN" altLang="en-US" sz="1950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5" name=" 220"/>
          <p:cNvSpPr/>
          <p:nvPr/>
        </p:nvSpPr>
        <p:spPr>
          <a:xfrm>
            <a:off x="5884863" y="1917700"/>
            <a:ext cx="1497013" cy="439738"/>
          </a:xfrm>
          <a:prstGeom prst="homePlate">
            <a:avLst/>
          </a:prstGeom>
          <a:pattFill prst="pct2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52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篝火晚会</a:t>
            </a:r>
            <a:endParaRPr kumimoji="0" lang="zh-CN" altLang="en-US" sz="1950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6" name=" 220"/>
          <p:cNvSpPr/>
          <p:nvPr/>
        </p:nvSpPr>
        <p:spPr>
          <a:xfrm>
            <a:off x="8245475" y="1995488"/>
            <a:ext cx="1612900" cy="441325"/>
          </a:xfrm>
          <a:prstGeom prst="homePlate">
            <a:avLst/>
          </a:prstGeom>
          <a:pattFill prst="pct2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52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950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总结分享</a:t>
            </a:r>
            <a:endParaRPr kumimoji="0" lang="zh-CN" altLang="en-US" sz="1950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7" name="圆角矩形 6"/>
          <p:cNvSpPr/>
          <p:nvPr>
            <p:custDataLst>
              <p:tags r:id="rId8"/>
            </p:custDataLst>
          </p:nvPr>
        </p:nvSpPr>
        <p:spPr>
          <a:xfrm>
            <a:off x="5068888" y="2501900"/>
            <a:ext cx="2406650" cy="2703513"/>
          </a:xfrm>
          <a:prstGeom prst="roundRect">
            <a:avLst/>
          </a:prstGeom>
          <a:solidFill>
            <a:srgbClr val="8D236F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斜纹 8"/>
          <p:cNvSpPr/>
          <p:nvPr>
            <p:custDataLst>
              <p:tags r:id="rId9"/>
            </p:custDataLst>
          </p:nvPr>
        </p:nvSpPr>
        <p:spPr>
          <a:xfrm>
            <a:off x="5397500" y="2436813"/>
            <a:ext cx="958850" cy="1228725"/>
          </a:xfrm>
          <a:prstGeom prst="diagStripe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35858" name="内容占位符 8" descr="timg (3)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38750" y="2655888"/>
            <a:ext cx="2143125" cy="22717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5859" name="图片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70788" y="2613025"/>
            <a:ext cx="2287587" cy="246856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7" name="文本框 16"/>
          <p:cNvSpPr txBox="1"/>
          <p:nvPr/>
        </p:nvSpPr>
        <p:spPr>
          <a:xfrm>
            <a:off x="209550" y="5105400"/>
            <a:ext cx="2179638" cy="330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定期聚餐，放松心情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2636838" y="5205413"/>
            <a:ext cx="2181225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邀请专业拓展团队，去往拓展基地开展活动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ea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5068888" y="5308600"/>
            <a:ext cx="231298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篝火晚会，音乐歌舞，畅想未来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ea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7475538" y="5308600"/>
            <a:ext cx="2312988" cy="330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1465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寓教于乐，分享交流</a:t>
            </a:r>
            <a:endParaRPr kumimoji="0" lang="zh-CN" altLang="en-US" sz="1465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</p:spTree>
    <p:custDataLst>
      <p:tags r:id="rId1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标题 1"/>
          <p:cNvSpPr>
            <a:spLocks noGrp="1"/>
          </p:cNvSpPr>
          <p:nvPr>
            <p:ph type="title"/>
          </p:nvPr>
        </p:nvSpPr>
        <p:spPr>
          <a:xfrm>
            <a:off x="392113" y="223838"/>
            <a:ext cx="9077325" cy="431800"/>
          </a:xfrm>
        </p:spPr>
        <p:txBody>
          <a:bodyPr vert="horz" wrap="square" lIns="91438" tIns="45718" rIns="91438" bIns="45718" numCol="1" rtlCol="0" anchor="ctr" anchorCtr="0" compatLnSpc="1">
            <a:normAutofit fontScale="90000"/>
          </a:bodyPr>
          <a:lstStyle/>
          <a:p>
            <a:pPr marL="0" marR="0" lvl="0" indent="0" algn="l" defTabSz="4552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  <a:sym typeface="+mn-ea"/>
              </a:rPr>
              <a:t>实习生体验课程定位</a:t>
            </a:r>
            <a:endParaRPr kumimoji="0" lang="en-US" altLang="zh-CN" sz="2400" b="1" i="0" u="none" strike="noStrike" kern="1200" cap="none" spc="0" normalizeH="0" baseline="0" noProof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  <a:sym typeface="+mn-ea"/>
            </a:endParaRPr>
          </a:p>
        </p:txBody>
      </p:sp>
      <p:sp>
        <p:nvSpPr>
          <p:cNvPr id="4" name="矩形 3"/>
          <p:cNvSpPr/>
          <p:nvPr>
            <p:custDataLst>
              <p:tags r:id="rId1"/>
            </p:custDataLst>
          </p:nvPr>
        </p:nvSpPr>
        <p:spPr>
          <a:xfrm>
            <a:off x="3623429" y="2682954"/>
            <a:ext cx="2834561" cy="1349693"/>
          </a:xfrm>
          <a:prstGeom prst="rect">
            <a:avLst/>
          </a:prstGeom>
          <a:blipFill rotWithShape="1">
            <a:blip r:embed="rId2"/>
            <a:srcRect/>
            <a:stretch>
              <a:fillRect l="-3894" t="-3949" r="-22532" b="-5656"/>
            </a:stretch>
          </a:blipFill>
        </p:spPr>
        <p:txBody>
          <a:bodyPr lIns="74295" tIns="37147" rIns="74295" bIns="37147" anchor="ctr"/>
          <a:lstStyle/>
          <a:p>
            <a:pPr marL="0" marR="0" lvl="0" indent="0" algn="just" defTabSz="45529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7" name="矩形 6"/>
          <p:cNvSpPr/>
          <p:nvPr>
            <p:custDataLst>
              <p:tags r:id="rId3"/>
            </p:custDataLst>
          </p:nvPr>
        </p:nvSpPr>
        <p:spPr>
          <a:xfrm>
            <a:off x="3623429" y="4032647"/>
            <a:ext cx="2834561" cy="1559678"/>
          </a:xfrm>
          <a:prstGeom prst="rect">
            <a:avLst/>
          </a:prstGeom>
          <a:blipFill rotWithShape="1">
            <a:blip r:embed="rId4"/>
            <a:srcRect/>
            <a:stretch>
              <a:fillRect l="-884" t="-18422" r="-1446" b="-3526"/>
            </a:stretch>
          </a:blipFill>
        </p:spPr>
        <p:txBody>
          <a:bodyPr lIns="74295" tIns="37147" rIns="74295" bIns="37147" anchor="ctr"/>
          <a:lstStyle/>
          <a:p>
            <a:pPr marL="0" marR="0" lvl="0" indent="0" algn="just" defTabSz="45529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6" name="矩形 5"/>
          <p:cNvSpPr/>
          <p:nvPr>
            <p:custDataLst>
              <p:tags r:id="rId5"/>
            </p:custDataLst>
          </p:nvPr>
        </p:nvSpPr>
        <p:spPr>
          <a:xfrm>
            <a:off x="3623429" y="1374021"/>
            <a:ext cx="2834561" cy="1308933"/>
          </a:xfrm>
          <a:prstGeom prst="rect">
            <a:avLst/>
          </a:prstGeom>
          <a:blipFill rotWithShape="1">
            <a:blip r:embed="rId6"/>
            <a:srcRect/>
            <a:stretch>
              <a:fillRect l="-1531" t="-11120" r="-1585" b="-11184"/>
            </a:stretch>
          </a:blipFill>
        </p:spPr>
        <p:txBody>
          <a:bodyPr lIns="74295" tIns="37147" rIns="74295" bIns="37147" anchor="ctr"/>
          <a:lstStyle/>
          <a:p>
            <a:pPr marL="0" marR="0" lvl="0" indent="0" algn="just" defTabSz="45529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9" name="矩形 8"/>
          <p:cNvSpPr/>
          <p:nvPr>
            <p:custDataLst>
              <p:tags r:id="rId7"/>
            </p:custDataLst>
          </p:nvPr>
        </p:nvSpPr>
        <p:spPr>
          <a:xfrm>
            <a:off x="1050965" y="1374021"/>
            <a:ext cx="2572464" cy="1308933"/>
          </a:xfrm>
          <a:prstGeom prst="rect">
            <a:avLst/>
          </a:prstGeom>
          <a:blipFill rotWithShape="1">
            <a:blip r:embed="rId8"/>
            <a:srcRect/>
            <a:stretch>
              <a:fillRect l="-2711" t="-4869" r="-2737" b="-3685"/>
            </a:stretch>
          </a:blipFill>
        </p:spPr>
        <p:txBody>
          <a:bodyPr lIns="74295" tIns="37147" rIns="74295" bIns="37147" anchor="ctr"/>
          <a:lstStyle/>
          <a:p>
            <a:pPr marL="0" marR="0" lvl="0" indent="0" algn="just" defTabSz="45529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11" name="矩形 10"/>
          <p:cNvSpPr/>
          <p:nvPr>
            <p:custDataLst>
              <p:tags r:id="rId9"/>
            </p:custDataLst>
          </p:nvPr>
        </p:nvSpPr>
        <p:spPr>
          <a:xfrm>
            <a:off x="5005388" y="5592763"/>
            <a:ext cx="1452563" cy="4302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74295" tIns="37147" rIns="74295" bIns="37147" anchor="ctr"/>
          <a:lstStyle/>
          <a:p>
            <a:pPr marL="0" marR="0" lvl="0" indent="0" algn="just" defTabSz="45529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1465" b="1" i="0" u="none" strike="noStrike" kern="1200" cap="none" spc="0" normalizeH="0" baseline="0" noProof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36880" name="矩形 13"/>
          <p:cNvSpPr/>
          <p:nvPr>
            <p:custDataLst>
              <p:tags r:id="rId10"/>
            </p:custDataLst>
          </p:nvPr>
        </p:nvSpPr>
        <p:spPr>
          <a:xfrm>
            <a:off x="157163" y="4233863"/>
            <a:ext cx="3378200" cy="1657350"/>
          </a:xfrm>
          <a:prstGeom prst="rect">
            <a:avLst/>
          </a:prstGeom>
          <a:noFill/>
          <a:ln w="9525">
            <a:noFill/>
          </a:ln>
        </p:spPr>
        <p:txBody>
          <a:bodyPr lIns="74295" tIns="37147" rIns="74295" bIns="37147" anchor="ctr"/>
          <a:lstStyle/>
          <a:p>
            <a:pPr lvl="0" eaLnBrk="1" hangingPunct="1">
              <a:lnSpc>
                <a:spcPct val="130000"/>
              </a:lnSpc>
              <a:buClr>
                <a:schemeClr val="accent1"/>
              </a:buClr>
              <a:buFont typeface="Arial" panose="020B0604020202020204" pitchFamily="34" charset="0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重工作、生活、学习、技能、思想各方面的发展，职业教育结合学校高等教育，担负着将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然人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向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社会人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转变的桥梁职责，使学生发展成为更适应社会发展的可用之才。</a:t>
            </a:r>
            <a:endParaRPr lang="zh-CN" altLang="en-US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881" name="图片 4" descr="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57950" y="2582863"/>
            <a:ext cx="3397250" cy="242252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7" name="矩形 16"/>
          <p:cNvSpPr/>
          <p:nvPr>
            <p:custDataLst>
              <p:tags r:id="rId12"/>
            </p:custDataLst>
          </p:nvPr>
        </p:nvSpPr>
        <p:spPr>
          <a:xfrm>
            <a:off x="68263" y="2744788"/>
            <a:ext cx="3554413" cy="1225550"/>
          </a:xfrm>
          <a:prstGeom prst="rect">
            <a:avLst/>
          </a:prstGeom>
          <a:solidFill>
            <a:schemeClr val="accent1"/>
          </a:solidFill>
        </p:spPr>
        <p:txBody>
          <a:bodyPr lIns="74295" tIns="37147" rIns="74295" bIns="37147" anchor="ctr">
            <a:normAutofit fontScale="85000" lnSpcReduction="20000"/>
          </a:bodyPr>
          <a:lstStyle/>
          <a:p>
            <a:pPr marL="0" marR="0" lvl="0" indent="0" algn="ctr" defTabSz="45529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da-DK" sz="195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从计划培养向市场驱动转变</a:t>
            </a:r>
            <a:endParaRPr kumimoji="0" lang="zh-CN" altLang="da-DK" sz="1950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0" marR="0" lvl="0" indent="0" algn="ctr" defTabSz="45529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da-DK" sz="195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 以就业为导向</a:t>
            </a:r>
            <a:endParaRPr kumimoji="0" lang="zh-CN" altLang="da-DK" sz="1950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0" marR="0" lvl="0" indent="0" algn="ctr" defTabSz="455295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da-DK" altLang="zh-CN" sz="195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为毕业生铺设一条更高起点的职业发展大道</a:t>
            </a:r>
            <a:endParaRPr kumimoji="0" lang="da-DK" altLang="zh-CN" sz="1950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  <p:custDataLst>
      <p:tags r:id="rId13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标题 1"/>
          <p:cNvSpPr>
            <a:spLocks noGrp="1"/>
          </p:cNvSpPr>
          <p:nvPr>
            <p:ph type="title"/>
          </p:nvPr>
        </p:nvSpPr>
        <p:spPr>
          <a:xfrm>
            <a:off x="3521075" y="698500"/>
            <a:ext cx="2673350" cy="508000"/>
          </a:xfrm>
        </p:spPr>
        <p:txBody>
          <a:bodyPr vert="horz" wrap="square" lIns="91438" tIns="45718" rIns="91438" bIns="45718" anchor="ctr"/>
          <a:lstStyle/>
          <a:p>
            <a:pPr defTabSz="455295"/>
            <a:r>
              <a:rPr lang="zh-CN" altLang="en-US" sz="1600" kern="1200" dirty="0">
                <a:latin typeface="+mj-lt"/>
                <a:ea typeface="MS PGothic" panose="020B0600070205080204" pitchFamily="34" charset="-128"/>
                <a:cs typeface="MS PGothic" panose="020B0600070205080204" pitchFamily="34" charset="-128"/>
              </a:rPr>
              <a:t>所以，有价值的实习应该是</a:t>
            </a:r>
            <a:endParaRPr lang="zh-CN" altLang="en-US" sz="1600" kern="1200" dirty="0">
              <a:latin typeface="+mj-lt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28638" y="2576513"/>
            <a:ext cx="8848725" cy="8874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4875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实习</a:t>
            </a:r>
            <a:r>
              <a:rPr kumimoji="0" lang="en-US" altLang="zh-CN" sz="4875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=</a:t>
            </a:r>
            <a:r>
              <a:rPr kumimoji="0" lang="zh-CN" altLang="en-US" sz="4875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学习</a:t>
            </a:r>
            <a:r>
              <a:rPr kumimoji="0" lang="en-US" altLang="zh-CN" sz="4875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+</a:t>
            </a:r>
            <a:r>
              <a:rPr kumimoji="0" lang="zh-CN" altLang="en-US" sz="4875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旅行</a:t>
            </a:r>
            <a:r>
              <a:rPr kumimoji="0" lang="en-US" altLang="zh-CN" sz="4875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+</a:t>
            </a:r>
            <a:r>
              <a:rPr kumimoji="0" lang="zh-CN" altLang="en-US" sz="4875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体验</a:t>
            </a:r>
            <a:r>
              <a:rPr kumimoji="0" lang="en-US" altLang="zh-CN" sz="4875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+</a:t>
            </a:r>
            <a:r>
              <a:rPr kumimoji="0" lang="zh-CN" altLang="en-US" sz="4875" b="1" i="0" u="sng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收入</a:t>
            </a:r>
            <a:endParaRPr kumimoji="0" lang="zh-CN" altLang="en-US" sz="4875" b="1" i="0" u="sng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ヒラギノ角ゴ Pro W3"/>
            </a:endParaRPr>
          </a:p>
        </p:txBody>
      </p:sp>
      <p:sp>
        <p:nvSpPr>
          <p:cNvPr id="3" name="云形 2"/>
          <p:cNvSpPr/>
          <p:nvPr/>
        </p:nvSpPr>
        <p:spPr>
          <a:xfrm>
            <a:off x="2765425" y="3851275"/>
            <a:ext cx="3336925" cy="139065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3250" b="1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缺一不可</a:t>
            </a:r>
            <a:endParaRPr kumimoji="0" lang="zh-CN" altLang="en-US" sz="3250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标题 1"/>
          <p:cNvSpPr>
            <a:spLocks noGrp="1"/>
          </p:cNvSpPr>
          <p:nvPr>
            <p:ph type="title"/>
          </p:nvPr>
        </p:nvSpPr>
        <p:spPr>
          <a:xfrm>
            <a:off x="392113" y="223838"/>
            <a:ext cx="9077325" cy="431800"/>
          </a:xfrm>
        </p:spPr>
        <p:txBody>
          <a:bodyPr vert="horz" wrap="square" lIns="91438" tIns="45718" rIns="91438" bIns="45718" anchor="ctr"/>
          <a:lstStyle/>
          <a:p>
            <a:pPr defTabSz="455295"/>
            <a:r>
              <a:rPr lang="zh-CN" altLang="en-US" kern="1200" dirty="0">
                <a:latin typeface="+mj-lt"/>
                <a:ea typeface="MS PGothic" panose="020B0600070205080204" pitchFamily="34" charset="-128"/>
                <a:cs typeface="MS PGothic" panose="020B0600070205080204" pitchFamily="34" charset="-128"/>
              </a:rPr>
              <a:t>晶端显示</a:t>
            </a:r>
            <a:endParaRPr lang="zh-CN" altLang="en-US" kern="1200" dirty="0">
              <a:latin typeface="+mj-lt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sp>
        <p:nvSpPr>
          <p:cNvPr id="38915" name="内容占位符 2"/>
          <p:cNvSpPr>
            <a:spLocks noGrp="1"/>
          </p:cNvSpPr>
          <p:nvPr>
            <p:ph idx="1"/>
          </p:nvPr>
        </p:nvSpPr>
        <p:spPr>
          <a:xfrm>
            <a:off x="406400" y="958850"/>
            <a:ext cx="9061450" cy="4183063"/>
          </a:xfrm>
          <a:noFill/>
          <a:ln>
            <a:noFill/>
          </a:ln>
        </p:spPr>
        <p:txBody>
          <a:bodyPr anchor="ctr"/>
          <a:lstStyle/>
          <a:p>
            <a:pPr marL="0" indent="0" algn="ctr" defTabSz="455295">
              <a:buFont typeface="Arial" panose="020B0604020202020204" pitchFamily="34" charset="0"/>
              <a:buNone/>
            </a:pPr>
            <a:r>
              <a:rPr lang="zh-CN" altLang="en-US" sz="60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期待和您一起</a:t>
            </a:r>
            <a:endParaRPr lang="zh-CN" altLang="en-US" sz="6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  <a:p>
            <a:pPr marL="0" indent="0" algn="ctr" defTabSz="455295">
              <a:buFont typeface="Arial" panose="020B0604020202020204" pitchFamily="34" charset="0"/>
              <a:buNone/>
            </a:pPr>
            <a:r>
              <a:rPr lang="zh-CN" altLang="en-US" sz="60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创造美好未来</a:t>
            </a:r>
            <a:endParaRPr lang="zh-CN" altLang="en-US" sz="60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3"/>
          <p:cNvSpPr/>
          <p:nvPr/>
        </p:nvSpPr>
        <p:spPr>
          <a:xfrm>
            <a:off x="3384550" y="2635250"/>
            <a:ext cx="3136900" cy="15557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 eaLnBrk="1" hangingPunct="1">
              <a:spcBef>
                <a:spcPct val="50000"/>
              </a:spcBef>
            </a:pPr>
            <a:r>
              <a:rPr lang="en-US" altLang="zh-CN" sz="9600" b="1" dirty="0">
                <a:latin typeface="Arial" panose="020B0604020202020204" pitchFamily="34" charset="0"/>
                <a:ea typeface="宋体" panose="02010600030101010101" pitchFamily="2" charset="-122"/>
              </a:rPr>
              <a:t>END</a:t>
            </a:r>
            <a:endParaRPr lang="en-US" altLang="zh-CN" sz="9600" b="1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标题 112641"/>
          <p:cNvSpPr>
            <a:spLocks noGrp="1"/>
          </p:cNvSpPr>
          <p:nvPr>
            <p:ph type="title"/>
          </p:nvPr>
        </p:nvSpPr>
        <p:spPr>
          <a:xfrm>
            <a:off x="290513" y="220663"/>
            <a:ext cx="9329737" cy="431800"/>
          </a:xfrm>
        </p:spPr>
        <p:txBody>
          <a:bodyPr lIns="91438" tIns="45718" rIns="91438" bIns="45718" anchor="ctr"/>
          <a:lstStyle/>
          <a:p>
            <a:pPr defTabSz="455295"/>
            <a:r>
              <a:rPr kumimoji="1" lang="zh-CN" altLang="en-US" sz="4000" kern="1200" dirty="0">
                <a:latin typeface="+mj-lt"/>
                <a:ea typeface="新宋体" panose="02010609030101010101" pitchFamily="49" charset="-122"/>
                <a:cs typeface="MS PGothic" panose="020B0600070205080204" pitchFamily="34" charset="-128"/>
              </a:rPr>
              <a:t>了解你将要来到的城市</a:t>
            </a:r>
            <a:endParaRPr kumimoji="1" lang="zh-CN" altLang="en-US" sz="4000" kern="1200" dirty="0">
              <a:latin typeface="+mj-lt"/>
              <a:ea typeface="新宋体" panose="02010609030101010101" pitchFamily="49" charset="-122"/>
              <a:cs typeface="MS PGothic" panose="020B0600070205080204" pitchFamily="34" charset="-128"/>
            </a:endParaRPr>
          </a:p>
        </p:txBody>
      </p:sp>
      <p:sp>
        <p:nvSpPr>
          <p:cNvPr id="112643" name="文本占位符 112642"/>
          <p:cNvSpPr>
            <a:spLocks noGrp="1"/>
          </p:cNvSpPr>
          <p:nvPr>
            <p:ph type="body" idx="1"/>
          </p:nvPr>
        </p:nvSpPr>
        <p:spPr>
          <a:xfrm>
            <a:off x="419100" y="1358900"/>
            <a:ext cx="8915400" cy="4525963"/>
          </a:xfrm>
          <a:noFill/>
          <a:ln>
            <a:noFill/>
          </a:ln>
        </p:spPr>
        <p:txBody>
          <a:bodyPr/>
          <a:lstStyle/>
          <a:p>
            <a:pPr defTabSz="455295"/>
            <a:r>
              <a:rPr kumimoji="1" lang="zh-CN" altLang="en-US" sz="2000" b="1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苏州</a:t>
            </a:r>
            <a:r>
              <a:rPr kumimoji="1" lang="zh-CN" altLang="en-US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，</a:t>
            </a:r>
            <a:r>
              <a:rPr kumimoji="1" lang="zh-CN" altLang="en-US" sz="18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古称吴，位于江苏省东南部，东临上海，南接嘉兴，西抱太湖，北依长江临近南京。</a:t>
            </a:r>
            <a:endParaRPr kumimoji="1" lang="zh-CN" altLang="en-US" sz="1800" kern="1200" dirty="0">
              <a:latin typeface="+mn-lt"/>
              <a:ea typeface="宋体" panose="02010600030101010101" pitchFamily="2" charset="-122"/>
              <a:cs typeface="MS PGothic" panose="020B0600070205080204" pitchFamily="34" charset="-128"/>
            </a:endParaRPr>
          </a:p>
          <a:p>
            <a:pPr defTabSz="455295"/>
            <a:r>
              <a:rPr kumimoji="1" lang="zh-CN" altLang="en-US" sz="18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属亚热带季风海洋性气候，四季分明，雨量充沛。种植水稻、小麦、油菜，出产棉花、蚕桑、林果，有“鱼米之乡”雅称。特产有碧螺春茶叶、长江刀鱼、太湖银鱼、阳澄湖大闸蟹等。</a:t>
            </a:r>
            <a:endParaRPr kumimoji="1" lang="zh-CN" altLang="en-US" sz="1800" kern="1200" dirty="0">
              <a:latin typeface="+mn-lt"/>
              <a:ea typeface="宋体" panose="02010600030101010101" pitchFamily="2" charset="-122"/>
              <a:cs typeface="MS PGothic" panose="020B0600070205080204" pitchFamily="34" charset="-128"/>
            </a:endParaRPr>
          </a:p>
          <a:p>
            <a:pPr defTabSz="455295"/>
            <a:r>
              <a:rPr kumimoji="1" lang="zh-CN" altLang="en-US" sz="18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苏州是中国首批</a:t>
            </a:r>
            <a:r>
              <a:rPr kumimoji="1" lang="en-US" altLang="zh-CN" sz="18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24</a:t>
            </a:r>
            <a:r>
              <a:rPr kumimoji="1" lang="zh-CN" altLang="en-US" sz="18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座国家历史文化名城之一，有近</a:t>
            </a:r>
            <a:r>
              <a:rPr kumimoji="1" lang="en-US" altLang="zh-CN" sz="18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2500</a:t>
            </a:r>
            <a:r>
              <a:rPr kumimoji="1" lang="zh-CN" altLang="en-US" sz="1800" kern="1200" dirty="0"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年历史，是吴文化的发祥地。苏州园林是中国私家园林的代表，被联合国教科文组织列为世界文化遗产。俗称“上有天堂，下游苏杭”</a:t>
            </a:r>
            <a:endParaRPr kumimoji="1" lang="zh-CN" altLang="en-US" sz="1800" kern="1200" dirty="0">
              <a:latin typeface="+mn-lt"/>
              <a:ea typeface="宋体" panose="02010600030101010101" pitchFamily="2" charset="-122"/>
              <a:cs typeface="MS PGothic" panose="020B0600070205080204" pitchFamily="34" charset="-128"/>
            </a:endParaRPr>
          </a:p>
          <a:p>
            <a:pPr defTabSz="455295"/>
            <a:r>
              <a:rPr kumimoji="1" lang="en-US" altLang="zh-CN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2016</a:t>
            </a:r>
            <a:r>
              <a:rPr kumimoji="1" lang="zh-CN" altLang="en-US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年</a:t>
            </a:r>
            <a:r>
              <a:rPr kumimoji="1" lang="en-US" altLang="zh-CN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1</a:t>
            </a:r>
            <a:r>
              <a:rPr kumimoji="1" lang="zh-CN" altLang="en-US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月，苏州被评为首批“国家生态园林城市”；</a:t>
            </a:r>
            <a:r>
              <a:rPr kumimoji="1" lang="en-US" altLang="zh-CN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2016</a:t>
            </a:r>
            <a:r>
              <a:rPr kumimoji="1" lang="zh-CN" altLang="en-US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年</a:t>
            </a:r>
            <a:r>
              <a:rPr kumimoji="1" lang="en-US" altLang="zh-CN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6</a:t>
            </a:r>
            <a:r>
              <a:rPr kumimoji="1" lang="zh-CN" altLang="en-US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月，中科院对外发布（中国宜居城市研究报告）显示，苏州宜居指数在全国</a:t>
            </a:r>
            <a:r>
              <a:rPr kumimoji="1" lang="en-US" altLang="zh-CN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40</a:t>
            </a:r>
            <a:r>
              <a:rPr kumimoji="1" lang="zh-CN" altLang="en-US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个城市排名第六；</a:t>
            </a:r>
            <a:r>
              <a:rPr kumimoji="1" lang="en-US" altLang="zh-CN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2015</a:t>
            </a:r>
            <a:r>
              <a:rPr kumimoji="1" lang="zh-CN" altLang="en-US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年苏州</a:t>
            </a:r>
            <a:r>
              <a:rPr kumimoji="1" lang="en-US" altLang="zh-CN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GDP1.4</a:t>
            </a:r>
            <a:r>
              <a:rPr kumimoji="1" lang="zh-CN" altLang="en-US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万亿远超省会城市南京</a:t>
            </a:r>
            <a:r>
              <a:rPr kumimoji="1" lang="en-US" altLang="zh-CN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0.97</a:t>
            </a:r>
            <a:r>
              <a:rPr kumimoji="1" lang="zh-CN" altLang="en-US" sz="1800" kern="1200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cs typeface="MS PGothic" panose="020B0600070205080204" pitchFamily="34" charset="-128"/>
              </a:rPr>
              <a:t>万亿，位居江苏省第一位。近年来，苏州以其园林式环境、特有的“吴”文化、高速增长的经济吸引大批国内外优秀学子就、创业。</a:t>
            </a:r>
            <a:endParaRPr kumimoji="1" lang="zh-CN" altLang="en-US" sz="1800" kern="1200" dirty="0">
              <a:solidFill>
                <a:schemeClr val="accent2"/>
              </a:solidFill>
              <a:latin typeface="+mn-lt"/>
              <a:ea typeface="宋体" panose="02010600030101010101" pitchFamily="2" charset="-122"/>
              <a:cs typeface="MS PGothic" panose="020B060007020508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050" y="909638"/>
            <a:ext cx="9886950" cy="511492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6323" name="Text Box 3"/>
          <p:cNvSpPr txBox="1"/>
          <p:nvPr/>
        </p:nvSpPr>
        <p:spPr>
          <a:xfrm>
            <a:off x="0" y="152400"/>
            <a:ext cx="3573463" cy="6413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 eaLnBrk="1" hangingPunct="1">
              <a:spcBef>
                <a:spcPct val="0"/>
              </a:spcBef>
            </a:pPr>
            <a:r>
              <a:rPr lang="zh-CN" altLang="en-US" sz="3600" dirty="0">
                <a:solidFill>
                  <a:schemeClr val="bg1"/>
                </a:solidFill>
                <a:latin typeface="Arial" panose="020B0604020202020204" pitchFamily="34" charset="0"/>
                <a:ea typeface="DFKai-SB" panose="03000509000000000000" charset="-120"/>
              </a:rPr>
              <a:t>苏州的地理位置</a:t>
            </a:r>
            <a:endParaRPr lang="zh-CN" altLang="en-US" sz="3600" dirty="0">
              <a:solidFill>
                <a:schemeClr val="bg1"/>
              </a:solidFill>
              <a:latin typeface="Arial" panose="020B0604020202020204" pitchFamily="34" charset="0"/>
              <a:ea typeface="DFKai-SB" panose="03000509000000000000" charset="-120"/>
            </a:endParaRPr>
          </a:p>
        </p:txBody>
      </p:sp>
      <p:sp>
        <p:nvSpPr>
          <p:cNvPr id="56324" name="Text Box 4"/>
          <p:cNvSpPr txBox="1"/>
          <p:nvPr/>
        </p:nvSpPr>
        <p:spPr>
          <a:xfrm>
            <a:off x="5222875" y="1089025"/>
            <a:ext cx="4300538" cy="942975"/>
          </a:xfrm>
          <a:prstGeom prst="rect">
            <a:avLst/>
          </a:prstGeom>
          <a:solidFill>
            <a:srgbClr val="00FFFF">
              <a:alpha val="25098"/>
            </a:srgbClr>
          </a:solidFill>
          <a:ln w="9525">
            <a:noFill/>
          </a:ln>
        </p:spPr>
        <p:txBody>
          <a:bodyPr lIns="90000" tIns="46800" rIns="90000" bIns="46800">
            <a:spAutoFit/>
          </a:bodyPr>
          <a:lstStyle/>
          <a:p>
            <a:pPr lvl="0" eaLnBrk="1" hangingPunct="1">
              <a:spcBef>
                <a:spcPct val="0"/>
              </a:spcBef>
            </a:pP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the </a:t>
            </a:r>
            <a:r>
              <a:rPr lang="en-US" altLang="zh-CN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new </a:t>
            </a: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high speed railroad </a:t>
            </a:r>
            <a:r>
              <a:rPr lang="en-US" altLang="zh-CN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has </a:t>
            </a: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complet</a:t>
            </a:r>
            <a:r>
              <a:rPr lang="en-US" altLang="zh-CN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ed in 2010</a:t>
            </a:r>
            <a:endParaRPr lang="en-US" altLang="zh-CN" sz="1400">
              <a:solidFill>
                <a:srgbClr val="FFFF00"/>
              </a:solidFill>
              <a:latin typeface="Calibri" panose="020F0502020204030204" pitchFamily="34" charset="0"/>
              <a:ea typeface="ヒラギノ角ゴ Pro W3"/>
            </a:endParaRPr>
          </a:p>
          <a:p>
            <a:pPr lvl="0" eaLnBrk="1" hangingPunct="1">
              <a:spcBef>
                <a:spcPct val="0"/>
              </a:spcBef>
            </a:pP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Shanghai </a:t>
            </a:r>
            <a:r>
              <a:rPr lang="ja-JP" altLang="en-US" sz="1400" dirty="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－ </a:t>
            </a: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Nanjing	</a:t>
            </a:r>
            <a:r>
              <a:rPr lang="en-US" altLang="zh-CN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100</a:t>
            </a: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min</a:t>
            </a:r>
            <a:endParaRPr lang="en-US" altLang="ja-JP" sz="1400">
              <a:solidFill>
                <a:srgbClr val="FFFF00"/>
              </a:solidFill>
              <a:latin typeface="Calibri" panose="020F0502020204030204" pitchFamily="34" charset="0"/>
              <a:ea typeface="ヒラギノ角ゴ Pro W3"/>
            </a:endParaRPr>
          </a:p>
          <a:p>
            <a:pPr lvl="0" eaLnBrk="1" hangingPunct="1">
              <a:spcBef>
                <a:spcPct val="0"/>
              </a:spcBef>
            </a:pP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Shanghai </a:t>
            </a:r>
            <a:r>
              <a:rPr lang="ja-JP" altLang="en-US" sz="1400" dirty="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－ </a:t>
            </a: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Suzhou	</a:t>
            </a:r>
            <a:r>
              <a:rPr lang="en-US" altLang="zh-CN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35</a:t>
            </a: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min</a:t>
            </a:r>
            <a:endParaRPr lang="en-US" altLang="ja-JP" sz="1400">
              <a:solidFill>
                <a:srgbClr val="FFFF00"/>
              </a:solidFill>
              <a:latin typeface="Calibri" panose="020F0502020204030204" pitchFamily="34" charset="0"/>
              <a:ea typeface="ヒラギノ角ゴ Pro W3"/>
            </a:endParaRPr>
          </a:p>
          <a:p>
            <a:pPr lvl="0" eaLnBrk="1" hangingPunct="1">
              <a:spcBef>
                <a:spcPct val="0"/>
              </a:spcBef>
            </a:pP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Shanghai </a:t>
            </a:r>
            <a:r>
              <a:rPr lang="ja-JP" altLang="en-US" sz="1400" dirty="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－ </a:t>
            </a: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Wuxi	</a:t>
            </a:r>
            <a:r>
              <a:rPr lang="en-US" altLang="zh-CN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           45</a:t>
            </a:r>
            <a:r>
              <a:rPr lang="en-US" altLang="ja-JP" sz="1400">
                <a:solidFill>
                  <a:srgbClr val="FFFF00"/>
                </a:solidFill>
                <a:latin typeface="Calibri" panose="020F0502020204030204" pitchFamily="34" charset="0"/>
                <a:ea typeface="ヒラギノ角ゴ Pro W3"/>
              </a:rPr>
              <a:t>min</a:t>
            </a:r>
            <a:endParaRPr lang="en-US" altLang="ja-JP" sz="1400">
              <a:solidFill>
                <a:srgbClr val="FFFF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6325" name="Text Box 5"/>
          <p:cNvSpPr txBox="1"/>
          <p:nvPr/>
        </p:nvSpPr>
        <p:spPr>
          <a:xfrm>
            <a:off x="1306513" y="4191000"/>
            <a:ext cx="1774825" cy="4572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 eaLnBrk="1" hangingPunct="1">
              <a:spcBef>
                <a:spcPct val="50000"/>
              </a:spcBef>
            </a:pPr>
            <a:r>
              <a:rPr lang="zh-CN" altLang="en-US" sz="2400" b="1" dirty="0">
                <a:solidFill>
                  <a:srgbClr val="FFFF66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太湖</a:t>
            </a:r>
            <a:endParaRPr lang="zh-CN" altLang="en-US" sz="2400" b="1" dirty="0">
              <a:solidFill>
                <a:srgbClr val="FFFF66"/>
              </a:solidFill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56326" name="AutoShape 7"/>
          <p:cNvSpPr/>
          <p:nvPr/>
        </p:nvSpPr>
        <p:spPr>
          <a:xfrm rot="5585251">
            <a:off x="3354388" y="3222625"/>
            <a:ext cx="1214437" cy="382588"/>
          </a:xfrm>
          <a:custGeom>
            <a:avLst/>
            <a:gdLst>
              <a:gd name="txL" fmla="*/ 3375 w 21600"/>
              <a:gd name="txT" fmla="*/ 5276 h 21600"/>
              <a:gd name="txR" fmla="*/ 18472 w 21600"/>
              <a:gd name="txB" fmla="*/ 16324 h 21600"/>
            </a:gdLst>
            <a:ahLst/>
            <a:cxnLst>
              <a:cxn ang="17694720">
                <a:pos x="2147483647" y="0"/>
              </a:cxn>
              <a:cxn ang="11796480">
                <a:pos x="0" y="2147483647"/>
              </a:cxn>
              <a:cxn ang="5898240">
                <a:pos x="2147483647" y="2147483647"/>
              </a:cxn>
              <a:cxn ang="0">
                <a:pos x="2147483647" y="2147483647"/>
              </a:cxn>
            </a:cxnLst>
            <a:rect l="txL" t="txT" r="txR" b="txB"/>
            <a:pathLst>
              <a:path w="21600" h="21600">
                <a:moveTo>
                  <a:pt x="15485" y="0"/>
                </a:moveTo>
                <a:lnTo>
                  <a:pt x="15485" y="5276"/>
                </a:lnTo>
                <a:lnTo>
                  <a:pt x="3375" y="5276"/>
                </a:lnTo>
                <a:lnTo>
                  <a:pt x="3375" y="16324"/>
                </a:lnTo>
                <a:lnTo>
                  <a:pt x="15485" y="16324"/>
                </a:lnTo>
                <a:lnTo>
                  <a:pt x="15485" y="21600"/>
                </a:lnTo>
                <a:lnTo>
                  <a:pt x="21600" y="10800"/>
                </a:lnTo>
                <a:lnTo>
                  <a:pt x="15485" y="0"/>
                </a:lnTo>
                <a:close/>
              </a:path>
              <a:path w="21600" h="21600">
                <a:moveTo>
                  <a:pt x="1350" y="5276"/>
                </a:moveTo>
                <a:lnTo>
                  <a:pt x="1350" y="16324"/>
                </a:lnTo>
                <a:lnTo>
                  <a:pt x="2700" y="16324"/>
                </a:lnTo>
                <a:lnTo>
                  <a:pt x="2700" y="5276"/>
                </a:lnTo>
                <a:lnTo>
                  <a:pt x="1350" y="5276"/>
                </a:lnTo>
                <a:close/>
              </a:path>
              <a:path w="21600" h="21600">
                <a:moveTo>
                  <a:pt x="0" y="5276"/>
                </a:moveTo>
                <a:lnTo>
                  <a:pt x="0" y="16324"/>
                </a:lnTo>
                <a:lnTo>
                  <a:pt x="675" y="16324"/>
                </a:lnTo>
                <a:lnTo>
                  <a:pt x="675" y="5276"/>
                </a:lnTo>
                <a:lnTo>
                  <a:pt x="0" y="5276"/>
                </a:lnTo>
                <a:close/>
              </a:path>
            </a:pathLst>
          </a:custGeom>
          <a:solidFill>
            <a:srgbClr val="D6C01C">
              <a:alpha val="50000"/>
            </a:srgbClr>
          </a:solidFill>
          <a:ln w="9525" cap="flat" cmpd="sng">
            <a:solidFill>
              <a:schemeClr val="tx1">
                <a:alpha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6327" name="Text Box 8"/>
          <p:cNvSpPr txBox="1"/>
          <p:nvPr/>
        </p:nvSpPr>
        <p:spPr>
          <a:xfrm>
            <a:off x="984250" y="2216150"/>
            <a:ext cx="4894263" cy="392113"/>
          </a:xfrm>
          <a:prstGeom prst="rect">
            <a:avLst/>
          </a:prstGeom>
          <a:solidFill>
            <a:srgbClr val="FFCC99"/>
          </a:solidFill>
          <a:ln w="25400" cap="flat" cmpd="sng">
            <a:solidFill>
              <a:srgbClr val="000066"/>
            </a:solidFill>
            <a:prstDash val="solid"/>
            <a:miter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 lvl="0" algn="ctr" eaLnBrk="1" hangingPunct="1">
              <a:spcBef>
                <a:spcPct val="50000"/>
              </a:spcBef>
            </a:pPr>
            <a:r>
              <a:rPr lang="zh-CN" altLang="en-US" sz="18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南京 </a:t>
            </a:r>
            <a:r>
              <a:rPr lang="en-US" altLang="ja-JP" sz="1800">
                <a:solidFill>
                  <a:srgbClr val="0000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200 km ← </a:t>
            </a:r>
            <a:r>
              <a:rPr lang="zh-CN" altLang="en-US" sz="1800" dirty="0">
                <a:solidFill>
                  <a:srgbClr val="0000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苏州</a:t>
            </a:r>
            <a:r>
              <a:rPr lang="ja-JP" altLang="en-US" sz="1800" dirty="0">
                <a:solidFill>
                  <a:srgbClr val="0000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→</a:t>
            </a:r>
            <a:r>
              <a:rPr lang="zh-CN" altLang="en-US" sz="1800" dirty="0">
                <a:solidFill>
                  <a:srgbClr val="0000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上海</a:t>
            </a:r>
            <a:r>
              <a:rPr lang="en-US" altLang="zh-CN" sz="180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r>
              <a:rPr lang="en-US" altLang="ja-JP" sz="1800">
                <a:solidFill>
                  <a:srgbClr val="0000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80 km</a:t>
            </a:r>
            <a:endParaRPr lang="en-US" altLang="ja-JP" sz="1800">
              <a:solidFill>
                <a:srgbClr val="000000"/>
              </a:solidFill>
              <a:latin typeface="Times New Roman" panose="02020603050405020304" pitchFamily="18" charset="0"/>
              <a:ea typeface="MS PGothic" panose="020B0600070205080204" pitchFamily="34" charset="-128"/>
            </a:endParaRPr>
          </a:p>
        </p:txBody>
      </p:sp>
      <p:sp>
        <p:nvSpPr>
          <p:cNvPr id="56328" name="Text Box 9"/>
          <p:cNvSpPr txBox="1"/>
          <p:nvPr/>
        </p:nvSpPr>
        <p:spPr>
          <a:xfrm>
            <a:off x="6896100" y="4033838"/>
            <a:ext cx="1909763" cy="3365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1600" b="1">
                <a:solidFill>
                  <a:srgbClr val="FFFF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B:</a:t>
            </a:r>
            <a:r>
              <a:rPr lang="zh-CN" altLang="en-US" sz="1600" b="1" dirty="0">
                <a:solidFill>
                  <a:srgbClr val="FFFF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上海</a:t>
            </a:r>
            <a:endParaRPr lang="ja-JP" altLang="en-US" sz="1600" b="1" dirty="0">
              <a:solidFill>
                <a:srgbClr val="FFFF00"/>
              </a:solidFill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56329" name="Text Box 10"/>
          <p:cNvSpPr txBox="1"/>
          <p:nvPr/>
        </p:nvSpPr>
        <p:spPr>
          <a:xfrm>
            <a:off x="7380288" y="5200650"/>
            <a:ext cx="1982787" cy="3365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1600">
                <a:solidFill>
                  <a:srgbClr val="FFFF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C: PVG</a:t>
            </a:r>
            <a:endParaRPr lang="en-US" altLang="ja-JP" sz="1600">
              <a:solidFill>
                <a:srgbClr val="FFFF00"/>
              </a:solidFill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56330" name="AutoShape 11"/>
          <p:cNvSpPr/>
          <p:nvPr/>
        </p:nvSpPr>
        <p:spPr>
          <a:xfrm rot="-9071353">
            <a:off x="885825" y="1335088"/>
            <a:ext cx="942975" cy="217487"/>
          </a:xfrm>
          <a:custGeom>
            <a:avLst/>
            <a:gdLst>
              <a:gd name="txL" fmla="*/ 3375 w 21600"/>
              <a:gd name="txT" fmla="*/ 5400 h 21600"/>
              <a:gd name="txR" fmla="*/ 18900 w 21600"/>
              <a:gd name="txB" fmla="*/ 16200 h 21600"/>
            </a:gdLst>
            <a:ahLst/>
            <a:cxnLst>
              <a:cxn ang="17694720">
                <a:pos x="2147483647" y="0"/>
              </a:cxn>
              <a:cxn ang="11796480">
                <a:pos x="0" y="2147483647"/>
              </a:cxn>
              <a:cxn ang="5898240">
                <a:pos x="2147483647" y="2147483647"/>
              </a:cxn>
              <a:cxn ang="0">
                <a:pos x="2147483647" y="2147483647"/>
              </a:cxn>
            </a:cxnLst>
            <a:rect l="txL" t="txT" r="txR" b="txB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FFFF00">
              <a:alpha val="100000"/>
            </a:srgbClr>
          </a:solidFill>
          <a:ln w="12700" cap="flat" cmpd="sng">
            <a:solidFill>
              <a:schemeClr val="tx1">
                <a:alpha val="10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6331" name="Text Box 12"/>
          <p:cNvSpPr txBox="1"/>
          <p:nvPr/>
        </p:nvSpPr>
        <p:spPr>
          <a:xfrm>
            <a:off x="1425575" y="1174750"/>
            <a:ext cx="917575" cy="3365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sz="1600" b="1" dirty="0">
                <a:solidFill>
                  <a:srgbClr val="FFFF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南京</a:t>
            </a:r>
            <a:endParaRPr lang="zh-CN" altLang="en-US" sz="1600" b="1" dirty="0">
              <a:solidFill>
                <a:srgbClr val="FFFF00"/>
              </a:solidFill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56332" name="Text Box 13"/>
          <p:cNvSpPr txBox="1"/>
          <p:nvPr/>
        </p:nvSpPr>
        <p:spPr>
          <a:xfrm>
            <a:off x="3325813" y="4338638"/>
            <a:ext cx="1389062" cy="4572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2400">
                <a:solidFill>
                  <a:srgbClr val="E3CD29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A: </a:t>
            </a:r>
            <a:r>
              <a:rPr lang="zh-CN" altLang="en-US" sz="2400" b="1" dirty="0">
                <a:solidFill>
                  <a:srgbClr val="E3CD29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苏州</a:t>
            </a:r>
            <a:endParaRPr lang="zh-CN" altLang="en-US" sz="2400" b="1" dirty="0">
              <a:solidFill>
                <a:srgbClr val="E3CD29"/>
              </a:solidFill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56333" name="Text Box 14"/>
          <p:cNvSpPr txBox="1"/>
          <p:nvPr/>
        </p:nvSpPr>
        <p:spPr>
          <a:xfrm>
            <a:off x="0" y="5999163"/>
            <a:ext cx="6718300" cy="4572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eaLnBrk="1" hangingPunct="1">
              <a:spcBef>
                <a:spcPct val="50000"/>
              </a:spcBef>
            </a:pPr>
            <a:r>
              <a:rPr lang="zh-CN" altLang="en-US" sz="2400" dirty="0">
                <a:solidFill>
                  <a:srgbClr val="FF33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苏州地理面积 ，</a:t>
            </a:r>
            <a:r>
              <a:rPr lang="en-US" altLang="ja-JP" sz="2400">
                <a:solidFill>
                  <a:srgbClr val="FF33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8,488 </a:t>
            </a:r>
            <a:r>
              <a:rPr lang="en-US" altLang="ja-JP" sz="2000">
                <a:solidFill>
                  <a:srgbClr val="FF33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km</a:t>
            </a:r>
            <a:r>
              <a:rPr lang="en-US" altLang="ja-JP" sz="2000" baseline="30000">
                <a:solidFill>
                  <a:srgbClr val="FF33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2          </a:t>
            </a:r>
            <a:r>
              <a:rPr lang="zh-CN" altLang="en-US" sz="2000" dirty="0">
                <a:solidFill>
                  <a:srgbClr val="FF33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人口</a:t>
            </a:r>
            <a:r>
              <a:rPr lang="ja-JP" altLang="en-US" sz="2000" dirty="0">
                <a:solidFill>
                  <a:srgbClr val="FF33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  </a:t>
            </a:r>
            <a:r>
              <a:rPr lang="en-US" altLang="zh-CN" sz="2000">
                <a:solidFill>
                  <a:srgbClr val="FF33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1300</a:t>
            </a:r>
            <a:r>
              <a:rPr lang="zh-CN" altLang="en-US" sz="2000" dirty="0">
                <a:solidFill>
                  <a:srgbClr val="FF3300"/>
                </a:solidFill>
                <a:latin typeface="Times New Roman" panose="02020603050405020304" pitchFamily="18" charset="0"/>
                <a:ea typeface="MS PGothic" panose="020B0600070205080204" pitchFamily="34" charset="-128"/>
              </a:rPr>
              <a:t>万</a:t>
            </a:r>
            <a:endParaRPr lang="ja-JP" altLang="en-US" sz="2000" dirty="0">
              <a:solidFill>
                <a:srgbClr val="FF3300"/>
              </a:solidFill>
              <a:latin typeface="Times New Roman" panose="02020603050405020304" pitchFamily="18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90" name="图片 67589" descr="M_1281~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87700" y="1866900"/>
            <a:ext cx="6437313" cy="428466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7607" name="文本框 67606"/>
          <p:cNvSpPr txBox="1"/>
          <p:nvPr/>
        </p:nvSpPr>
        <p:spPr>
          <a:xfrm>
            <a:off x="1906588" y="3509963"/>
            <a:ext cx="611187" cy="2911475"/>
          </a:xfrm>
          <a:prstGeom prst="rect">
            <a:avLst/>
          </a:prstGeom>
          <a:noFill/>
          <a:ln w="9525">
            <a:noFill/>
          </a:ln>
        </p:spPr>
        <p:txBody>
          <a:bodyPr vert="eaVert"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zh-CN" altLang="en-US" sz="2800" dirty="0">
                <a:latin typeface="Calibri" panose="020F0502020204030204" pitchFamily="34" charset="0"/>
                <a:ea typeface="MS PGothic" panose="020B0600070205080204" pitchFamily="34" charset="-128"/>
              </a:rPr>
              <a:t>留下自己的回忆</a:t>
            </a:r>
            <a:endParaRPr lang="zh-CN" altLang="en-US" sz="2800" dirty="0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608" name="文本框 67607"/>
          <p:cNvSpPr txBox="1"/>
          <p:nvPr/>
        </p:nvSpPr>
        <p:spPr>
          <a:xfrm>
            <a:off x="1808163" y="1465263"/>
            <a:ext cx="671512" cy="3597275"/>
          </a:xfrm>
          <a:prstGeom prst="rect">
            <a:avLst/>
          </a:prstGeom>
          <a:noFill/>
          <a:ln w="9525">
            <a:noFill/>
          </a:ln>
        </p:spPr>
        <p:txBody>
          <a:bodyPr vert="eaVert"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endParaRPr lang="zh-CN" altLang="en-US" sz="3200" dirty="0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609" name="文本框 67608"/>
          <p:cNvSpPr txBox="1"/>
          <p:nvPr/>
        </p:nvSpPr>
        <p:spPr>
          <a:xfrm>
            <a:off x="830263" y="2506663"/>
            <a:ext cx="1255712" cy="3076575"/>
          </a:xfrm>
          <a:prstGeom prst="rect">
            <a:avLst/>
          </a:prstGeom>
          <a:noFill/>
          <a:ln w="9525">
            <a:noFill/>
          </a:ln>
        </p:spPr>
        <p:txBody>
          <a:bodyPr vert="eaVert"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endParaRPr lang="zh-CN" altLang="en-US" sz="3200" dirty="0">
              <a:latin typeface="Calibri" panose="020F0502020204030204" pitchFamily="34" charset="0"/>
              <a:ea typeface="MS PGothic" panose="020B0600070205080204" pitchFamily="34" charset="-128"/>
            </a:endParaRPr>
          </a:p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endParaRPr lang="zh-CN" altLang="en-US" sz="3200" dirty="0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611" name="文本框 67610"/>
          <p:cNvSpPr txBox="1"/>
          <p:nvPr/>
        </p:nvSpPr>
        <p:spPr>
          <a:xfrm>
            <a:off x="279400" y="958850"/>
            <a:ext cx="6581775" cy="579438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zh-CN" altLang="en-US" sz="3200" dirty="0">
                <a:latin typeface="Calibri" panose="020F0502020204030204" pitchFamily="34" charset="0"/>
                <a:ea typeface="MS PGothic" panose="020B0600070205080204" pitchFamily="34" charset="-128"/>
              </a:rPr>
              <a:t>中国十条名街之一  ：苏州平江路                      </a:t>
            </a:r>
            <a:endParaRPr lang="en-US" altLang="zh-CN" sz="3200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612" name="矩形 67611"/>
          <p:cNvSpPr/>
          <p:nvPr/>
        </p:nvSpPr>
        <p:spPr>
          <a:xfrm>
            <a:off x="4251325" y="955675"/>
            <a:ext cx="2224088" cy="579438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endParaRPr lang="zh-CN" altLang="en-US" sz="3200" b="1" dirty="0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67613" name="文本框 67612"/>
          <p:cNvSpPr txBox="1"/>
          <p:nvPr/>
        </p:nvSpPr>
        <p:spPr>
          <a:xfrm>
            <a:off x="1028700" y="2189163"/>
            <a:ext cx="611188" cy="2624137"/>
          </a:xfrm>
          <a:prstGeom prst="rect">
            <a:avLst/>
          </a:prstGeom>
          <a:noFill/>
          <a:ln w="9525">
            <a:noFill/>
          </a:ln>
        </p:spPr>
        <p:txBody>
          <a:bodyPr vert="eaVert"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zh-CN" altLang="en-US" sz="2800" b="1" dirty="0">
                <a:latin typeface="Calibri" panose="020F0502020204030204" pitchFamily="34" charset="0"/>
                <a:ea typeface="MS PGothic" panose="020B0600070205080204" pitchFamily="34" charset="-128"/>
              </a:rPr>
              <a:t>走走苏州的老街</a:t>
            </a:r>
            <a:endParaRPr lang="zh-CN" altLang="en-US" sz="2800" b="1" dirty="0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7614" name="文本框 67613"/>
          <p:cNvSpPr txBox="1"/>
          <p:nvPr/>
        </p:nvSpPr>
        <p:spPr>
          <a:xfrm>
            <a:off x="0" y="152400"/>
            <a:ext cx="9274175" cy="7016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zh-CN" altLang="en-US" sz="4000" dirty="0">
                <a:solidFill>
                  <a:schemeClr val="bg1"/>
                </a:solidFill>
                <a:latin typeface="Calibri" panose="020F0502020204030204" pitchFamily="34" charset="0"/>
                <a:ea typeface="新宋体" panose="02010609030101010101" pitchFamily="49" charset="-122"/>
              </a:rPr>
              <a:t>玩转苏州之古朴苏州</a:t>
            </a:r>
            <a:endParaRPr lang="zh-CN" altLang="en-US" sz="4000" dirty="0">
              <a:solidFill>
                <a:schemeClr val="bg1"/>
              </a:solidFill>
              <a:latin typeface="Calibri" panose="020F0502020204030204" pitchFamily="34" charset="0"/>
              <a:ea typeface="新宋体" panose="02010609030101010101" pitchFamily="49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标题 87041"/>
          <p:cNvSpPr>
            <a:spLocks noGrp="1"/>
          </p:cNvSpPr>
          <p:nvPr>
            <p:ph type="title"/>
          </p:nvPr>
        </p:nvSpPr>
        <p:spPr>
          <a:xfrm>
            <a:off x="290513" y="220663"/>
            <a:ext cx="9329737" cy="431800"/>
          </a:xfrm>
        </p:spPr>
        <p:txBody>
          <a:bodyPr lIns="91438" tIns="45718" rIns="91438" bIns="45718" anchor="ctr"/>
          <a:lstStyle/>
          <a:p>
            <a:pPr defTabSz="455295"/>
            <a:r>
              <a:rPr kumimoji="1" lang="zh-CN" altLang="en-US" sz="4400" b="1" kern="1200" dirty="0">
                <a:latin typeface="+mj-lt"/>
                <a:ea typeface="DFKai-SB" panose="03000509000000000000" charset="-120"/>
                <a:cs typeface="MS PGothic" panose="020B0600070205080204" pitchFamily="34" charset="-128"/>
              </a:rPr>
              <a:t>玩转苏州之现代苏州</a:t>
            </a:r>
            <a:endParaRPr kumimoji="1" lang="en-US" altLang="zh-CN" sz="4400" b="1" kern="1200">
              <a:latin typeface="+mj-lt"/>
              <a:ea typeface="DFKai-SB" panose="03000509000000000000" charset="-120"/>
              <a:cs typeface="MS PGothic" panose="020B0600070205080204" pitchFamily="34" charset="-128"/>
            </a:endParaRPr>
          </a:p>
        </p:txBody>
      </p:sp>
      <p:sp>
        <p:nvSpPr>
          <p:cNvPr id="87043" name="文本占位符 87042"/>
          <p:cNvSpPr>
            <a:spLocks noGrp="1"/>
          </p:cNvSpPr>
          <p:nvPr>
            <p:ph type="body" idx="1"/>
          </p:nvPr>
        </p:nvSpPr>
        <p:spPr>
          <a:xfrm>
            <a:off x="495300" y="1587500"/>
            <a:ext cx="8915400" cy="4525963"/>
          </a:xfrm>
          <a:noFill/>
          <a:ln>
            <a:noFill/>
          </a:ln>
        </p:spPr>
        <p:txBody>
          <a:bodyPr/>
          <a:lstStyle/>
          <a:p>
            <a:pPr defTabSz="455295"/>
            <a:endParaRPr kumimoji="1" lang="zh-CN" altLang="en-US" kern="1200" dirty="0">
              <a:latin typeface="+mn-lt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pic>
        <p:nvPicPr>
          <p:cNvPr id="87044" name="图片 87043" descr="08f790529822720ee46f85007bcb0a46f31fbe096a63f39b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42900" y="1350963"/>
            <a:ext cx="7569200" cy="457993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87046" name="文本框 87045"/>
          <p:cNvSpPr txBox="1"/>
          <p:nvPr/>
        </p:nvSpPr>
        <p:spPr>
          <a:xfrm>
            <a:off x="8548688" y="1744663"/>
            <a:ext cx="611187" cy="3902075"/>
          </a:xfrm>
          <a:prstGeom prst="rect">
            <a:avLst/>
          </a:prstGeom>
          <a:noFill/>
          <a:ln w="9525">
            <a:noFill/>
          </a:ln>
        </p:spPr>
        <p:txBody>
          <a:bodyPr vert="eaVert"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zh-CN" altLang="en-US" sz="2800" dirty="0">
                <a:latin typeface="Calibri" panose="020F0502020204030204" pitchFamily="34" charset="0"/>
                <a:ea typeface="MS PGothic" panose="020B0600070205080204" pitchFamily="34" charset="-128"/>
              </a:rPr>
              <a:t>现代风情建筑  </a:t>
            </a:r>
            <a:r>
              <a:rPr lang="zh-CN" altLang="en-US" sz="2800" b="1" dirty="0">
                <a:latin typeface="Calibri" panose="020F0502020204030204" pitchFamily="34" charset="0"/>
                <a:ea typeface="MS PGothic" panose="020B0600070205080204" pitchFamily="34" charset="-128"/>
              </a:rPr>
              <a:t>东方之门</a:t>
            </a:r>
            <a:endParaRPr lang="zh-CN" altLang="en-US" sz="2800" b="1" dirty="0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标题 88065"/>
          <p:cNvSpPr>
            <a:spLocks noGrp="1"/>
          </p:cNvSpPr>
          <p:nvPr>
            <p:ph type="title"/>
          </p:nvPr>
        </p:nvSpPr>
        <p:spPr>
          <a:xfrm>
            <a:off x="290513" y="220663"/>
            <a:ext cx="9329737" cy="431800"/>
          </a:xfrm>
        </p:spPr>
        <p:txBody>
          <a:bodyPr lIns="91438" tIns="45718" rIns="91438" bIns="45718" anchor="ctr"/>
          <a:lstStyle/>
          <a:p>
            <a:pPr defTabSz="455295"/>
            <a:r>
              <a:rPr kumimoji="1" lang="zh-CN" altLang="en-US" sz="4000" kern="1200" dirty="0">
                <a:latin typeface="+mj-lt"/>
                <a:ea typeface="DFKai-SB" panose="03000509000000000000" charset="-120"/>
                <a:cs typeface="MS PGothic" panose="020B0600070205080204" pitchFamily="34" charset="-128"/>
              </a:rPr>
              <a:t>玩转苏州之水乡苏州</a:t>
            </a:r>
            <a:endParaRPr kumimoji="1" lang="zh-CN" altLang="en-US" sz="4000" kern="1200" dirty="0">
              <a:latin typeface="+mj-lt"/>
              <a:ea typeface="DFKai-SB" panose="03000509000000000000" charset="-120"/>
              <a:cs typeface="MS PGothic" panose="020B0600070205080204" pitchFamily="34" charset="-128"/>
            </a:endParaRPr>
          </a:p>
        </p:txBody>
      </p:sp>
      <p:sp>
        <p:nvSpPr>
          <p:cNvPr id="88067" name="文本占位符 88066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noFill/>
          <a:ln>
            <a:noFill/>
          </a:ln>
        </p:spPr>
        <p:txBody>
          <a:bodyPr/>
          <a:lstStyle/>
          <a:p>
            <a:pPr defTabSz="455295"/>
            <a:endParaRPr kumimoji="1" lang="zh-CN" altLang="en-US" kern="1200" dirty="0">
              <a:latin typeface="+mn-lt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pic>
        <p:nvPicPr>
          <p:cNvPr id="88068" name="图片 88067" descr="9a504fc2d5628535133f6b9690ef76c6a6efce1b9c164b9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233988" y="2362200"/>
            <a:ext cx="4672012" cy="371316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88070" name="图片 88069" descr="359B03~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100" y="914400"/>
            <a:ext cx="5043488" cy="33782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88071" name="文本框 88070"/>
          <p:cNvSpPr txBox="1"/>
          <p:nvPr/>
        </p:nvSpPr>
        <p:spPr>
          <a:xfrm>
            <a:off x="5622925" y="1185863"/>
            <a:ext cx="3486150" cy="579437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zh-CN" altLang="en-US" sz="3200" dirty="0">
                <a:latin typeface="Calibri" panose="020F0502020204030204" pitchFamily="34" charset="0"/>
                <a:ea typeface="MS PGothic" panose="020B0600070205080204" pitchFamily="34" charset="-128"/>
              </a:rPr>
              <a:t>苏州的金鸡湖畔</a:t>
            </a:r>
            <a:endParaRPr lang="zh-CN" altLang="en-US" sz="3200" dirty="0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88072" name="文本框 88071"/>
          <p:cNvSpPr txBox="1"/>
          <p:nvPr/>
        </p:nvSpPr>
        <p:spPr>
          <a:xfrm>
            <a:off x="631825" y="4475163"/>
            <a:ext cx="3028950" cy="579437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marL="341630" lvl="0" indent="-341630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zh-CN" altLang="en-US" sz="3200" dirty="0">
                <a:latin typeface="Calibri" panose="020F0502020204030204" pitchFamily="34" charset="0"/>
                <a:ea typeface="MS PGothic" panose="020B0600070205080204" pitchFamily="34" charset="-128"/>
              </a:rPr>
              <a:t>苏州的山塘夜景</a:t>
            </a:r>
            <a:endParaRPr lang="zh-CN" altLang="en-US" sz="3200" dirty="0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图片 12"/>
          <p:cNvPicPr>
            <a:picLocks noChangeAspect="1"/>
          </p:cNvPicPr>
          <p:nvPr/>
        </p:nvPicPr>
        <p:blipFill>
          <a:blip r:embed="rId1"/>
          <a:srcRect r="41589" b="31393"/>
          <a:stretch>
            <a:fillRect/>
          </a:stretch>
        </p:blipFill>
        <p:spPr>
          <a:xfrm>
            <a:off x="8445500" y="795338"/>
            <a:ext cx="1436688" cy="12668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4339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3988" y="3738563"/>
            <a:ext cx="4554537" cy="2559050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14340" name="AutoShape 15"/>
          <p:cNvGraphicFramePr/>
          <p:nvPr>
            <p:custDataLst>
              <p:tags r:id="rId3"/>
            </p:custDataLst>
          </p:nvPr>
        </p:nvGraphicFramePr>
        <p:xfrm>
          <a:off x="0" y="0"/>
          <a:ext cx="161925" cy="17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" r:id="rId4" imgW="0" imgH="0" progId="">
                  <p:embed/>
                </p:oleObj>
              </mc:Choice>
              <mc:Fallback>
                <p:oleObj name="" r:id="rId4" imgW="0" imgH="0" progId="">
                  <p:embed/>
                  <p:pic>
                    <p:nvPicPr>
                      <p:cNvPr id="0" name="图片 3078"/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25" cy="176213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41" name="Rectangle 71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DF2FF"/>
          </a:solidFill>
          <a:ln w="1270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 lvl="0" algn="ctr" defTabSz="1008380" eaLnBrk="0" hangingPunct="0"/>
            <a:r>
              <a:rPr lang="en-US" altLang="ja-JP" sz="7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rPr>
              <a:t>7</a:t>
            </a:r>
            <a:endParaRPr lang="ja-JP" altLang="en-US" sz="7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4342" name="Title 32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90500" y="146050"/>
            <a:ext cx="9329738" cy="612775"/>
          </a:xfrm>
        </p:spPr>
        <p:txBody>
          <a:bodyPr vert="horz" wrap="square" lIns="91438" tIns="45718" rIns="91438" bIns="45718" anchor="ctr">
            <a:spAutoFit/>
          </a:bodyPr>
          <a:lstStyle/>
          <a:p>
            <a:pPr defTabSz="455295" eaLnBrk="1" hangingPunct="1">
              <a:spcBef>
                <a:spcPct val="50000"/>
              </a:spcBef>
            </a:pPr>
            <a:r>
              <a:rPr lang="zh-CN" altLang="en-US" sz="3200" b="1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MS PGothic" panose="020B0600070205080204" pitchFamily="34" charset="-128"/>
              </a:rPr>
              <a:t>苏州介绍</a:t>
            </a:r>
            <a:endParaRPr lang="zh-CN" altLang="en-US" sz="3200" b="1" kern="1200" dirty="0">
              <a:latin typeface="微软雅黑" panose="020B0503020204020204" pitchFamily="34" charset="-122"/>
              <a:ea typeface="微软雅黑" panose="020B0503020204020204" pitchFamily="34" charset="-122"/>
              <a:cs typeface="MS PGothic" panose="020B0600070205080204" pitchFamily="34" charset="-128"/>
            </a:endParaRPr>
          </a:p>
        </p:txBody>
      </p:sp>
      <p:pic>
        <p:nvPicPr>
          <p:cNvPr id="14343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300" y="2809875"/>
            <a:ext cx="2368550" cy="3570288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4344" name="图片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300" y="852488"/>
            <a:ext cx="5848350" cy="206057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4345" name="图片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31150" y="2187575"/>
            <a:ext cx="1866900" cy="12446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4346" name="图片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05525" y="2392363"/>
            <a:ext cx="1636713" cy="10398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4347" name="图片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40025" y="4548188"/>
            <a:ext cx="2306638" cy="172878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6" name="椭圆 15"/>
          <p:cNvSpPr/>
          <p:nvPr/>
        </p:nvSpPr>
        <p:spPr>
          <a:xfrm>
            <a:off x="2716213" y="2930525"/>
            <a:ext cx="3063875" cy="1563688"/>
          </a:xfrm>
          <a:prstGeom prst="ellipse">
            <a:avLst/>
          </a:prstGeom>
          <a:blipFill>
            <a:blip r:embed="rId12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椭圆 1"/>
          <p:cNvSpPr/>
          <p:nvPr/>
        </p:nvSpPr>
        <p:spPr>
          <a:xfrm>
            <a:off x="5792788" y="815975"/>
            <a:ext cx="2667000" cy="1371600"/>
          </a:xfrm>
          <a:prstGeom prst="ellipse">
            <a:avLst/>
          </a:prstGeom>
          <a:blipFill>
            <a:blip r:embed="rId13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52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poj1ZCcog9UelCkFzMQ3dhQ"/>
</p:tagLst>
</file>

<file path=ppt/tags/tag11.xml><?xml version="1.0" encoding="utf-8"?>
<p:tagLst xmlns:p="http://schemas.openxmlformats.org/presentationml/2006/main">
  <p:tag name="THINKCELLSHAPEDONOTDELETE" val="p9JrSZ9KrQUWtOp1ofzpn4A"/>
</p:tagLst>
</file>

<file path=ppt/tags/tag12.xml><?xml version="1.0" encoding="utf-8"?>
<p:tagLst xmlns:p="http://schemas.openxmlformats.org/presentationml/2006/main">
  <p:tag name="THINKCELLSHAPEDONOTDELETE" val="p79H_gHquH0GQmMJGrV5OGw"/>
</p:tagLst>
</file>

<file path=ppt/tags/tag13.xml><?xml version="1.0" encoding="utf-8"?>
<p:tagLst xmlns:p="http://schemas.openxmlformats.org/presentationml/2006/main">
  <p:tag name="THINKCELLSHAPEDONOTDELETE" val="ph7n.8.v0h0umUWSOqiBNSw"/>
</p:tagLst>
</file>

<file path=ppt/tags/tag14.xml><?xml version="1.0" encoding="utf-8"?>
<p:tagLst xmlns:p="http://schemas.openxmlformats.org/presentationml/2006/main">
  <p:tag name="THINKCELLSHAPEDONOTDELETE" val="p6e96.LfRS0C.bYAF9tVlIA"/>
</p:tagLst>
</file>

<file path=ppt/tags/tag15.xml><?xml version="1.0" encoding="utf-8"?>
<p:tagLst xmlns:p="http://schemas.openxmlformats.org/presentationml/2006/main">
  <p:tag name="THINKCELLSHAPEDONOTDELETE" val="pGnxDio49TECGNnFgx_RKqg"/>
</p:tagLst>
</file>

<file path=ppt/tags/tag16.xml><?xml version="1.0" encoding="utf-8"?>
<p:tagLst xmlns:p="http://schemas.openxmlformats.org/presentationml/2006/main">
  <p:tag name="THINKCELLSHAPEDONOTDELETE" val="pBsfJEHH92EeCaDts5UfJtA"/>
</p:tagLst>
</file>

<file path=ppt/tags/tag17.xml><?xml version="1.0" encoding="utf-8"?>
<p:tagLst xmlns:p="http://schemas.openxmlformats.org/presentationml/2006/main">
  <p:tag name="THINKCELLSHAPEDONOTDELETE" val="pTDhFFn.L9E2H_rBUvInqyA"/>
</p:tagLst>
</file>

<file path=ppt/tags/tag18.xml><?xml version="1.0" encoding="utf-8"?>
<p:tagLst xmlns:p="http://schemas.openxmlformats.org/presentationml/2006/main">
  <p:tag name="THINKCELLSHAPEDONOTDELETE" val="pcqvWTMRES0uJiHEB8XmVuQ"/>
</p:tagLst>
</file>

<file path=ppt/tags/tag19.xml><?xml version="1.0" encoding="utf-8"?>
<p:tagLst xmlns:p="http://schemas.openxmlformats.org/presentationml/2006/main">
  <p:tag name="THINKCELLSHAPEDONOTDELETE" val="pZZuFHz7Be0mG1KGqLfw1KA"/>
</p:tagLst>
</file>

<file path=ppt/tags/tag2.xml><?xml version="1.0" encoding="utf-8"?>
<p:tagLst xmlns:p="http://schemas.openxmlformats.org/presentationml/2006/main">
  <p:tag name="THINKCELLSHAPEDONOTDELETE" val="tD9H2_xGX4EKQGFRT094Q.Q"/>
</p:tagLst>
</file>

<file path=ppt/tags/tag20.xml><?xml version="1.0" encoding="utf-8"?>
<p:tagLst xmlns:p="http://schemas.openxmlformats.org/presentationml/2006/main">
  <p:tag name="THINKCELLSHAPEDONOTDELETE" val="pzjf3IDG.dU6_OOAYMQjmHQ"/>
</p:tagLst>
</file>

<file path=ppt/tags/tag21.xml><?xml version="1.0" encoding="utf-8"?>
<p:tagLst xmlns:p="http://schemas.openxmlformats.org/presentationml/2006/main">
  <p:tag name="THINKCELLSHAPEDONOTDELETE" val="pLuIxrBdmX0qDrb_9A3RWvQ"/>
</p:tagLst>
</file>

<file path=ppt/tags/tag22.xml><?xml version="1.0" encoding="utf-8"?>
<p:tagLst xmlns:p="http://schemas.openxmlformats.org/presentationml/2006/main">
  <p:tag name="THINKCELLSHAPEDONOTDELETE" val="pNWZyPUP6W06JbDvsKbdvwA"/>
</p:tagLst>
</file>

<file path=ppt/tags/tag23.xml><?xml version="1.0" encoding="utf-8"?>
<p:tagLst xmlns:p="http://schemas.openxmlformats.org/presentationml/2006/main">
  <p:tag name="THINKCELLSHAPEDONOTDELETE" val="pLsDYr20iUUmFcS59S9YH0g"/>
</p:tagLst>
</file>

<file path=ppt/tags/tag24.xml><?xml version="1.0" encoding="utf-8"?>
<p:tagLst xmlns:p="http://schemas.openxmlformats.org/presentationml/2006/main">
  <p:tag name="THINKCELLSHAPEDONOTDELETE" val="podi1b.O8iECo7SDKTA7jsg"/>
</p:tagLst>
</file>

<file path=ppt/tags/tag25.xml><?xml version="1.0" encoding="utf-8"?>
<p:tagLst xmlns:p="http://schemas.openxmlformats.org/presentationml/2006/main">
  <p:tag name="THINKCELLSHAPEDONOTDELETE" val="p85XcmUNtZEizPuZM280UjA"/>
</p:tagLst>
</file>

<file path=ppt/tags/tag26.xml><?xml version="1.0" encoding="utf-8"?>
<p:tagLst xmlns:p="http://schemas.openxmlformats.org/presentationml/2006/main">
  <p:tag name="THINKCELLSHAPEDONOTDELETE" val="pzbbAWHj4uEmtYelfo8lauA"/>
</p:tagLst>
</file>

<file path=ppt/tags/tag27.xml><?xml version="1.0" encoding="utf-8"?>
<p:tagLst xmlns:p="http://schemas.openxmlformats.org/presentationml/2006/main">
  <p:tag name="THINKCELLSHAPEDONOTDELETE" val="pW6ldA_.D.0CqaJ3YJLwr0w"/>
</p:tagLst>
</file>

<file path=ppt/tags/tag28.xml><?xml version="1.0" encoding="utf-8"?>
<p:tagLst xmlns:p="http://schemas.openxmlformats.org/presentationml/2006/main">
  <p:tag name="KSO_WM_BEAUTIFY_FLAG" val="#wm#"/>
  <p:tag name="KSO_WM_TEMPLATE_CATEGORY" val="basetag"/>
  <p:tag name="KSO_WM_TEMPLATE_INDEX" val="20163626"/>
</p:tagLst>
</file>

<file path=ppt/tags/tag29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1"/>
  <p:tag name="KSO_WM_UNIT_ID" val="diagram160509_4*l_i*1_1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3.xml><?xml version="1.0" encoding="utf-8"?>
<p:tagLst xmlns:p="http://schemas.openxmlformats.org/presentationml/2006/main">
  <p:tag name="THINKCELLSHAPEDONOTDELETE" val="pgfvZBoC280yXWxBNk__XTA"/>
</p:tagLst>
</file>

<file path=ppt/tags/tag30.xml><?xml version="1.0" encoding="utf-8"?>
<p:tagLst xmlns:p="http://schemas.openxmlformats.org/presentationml/2006/main">
  <p:tag name="KSO_WM_TEMPLATE_CATEGORY" val="diagram"/>
  <p:tag name="KSO_WM_TEMPLATE_INDEX" val="160509"/>
  <p:tag name="KSO_WM_UNIT_TYPE" val="l_h_a"/>
  <p:tag name="KSO_WM_UNIT_INDEX" val="1_1_1"/>
  <p:tag name="KSO_WM_UNIT_ID" val="diagram160509_4*l_h_a*1_1_1"/>
  <p:tag name="KSO_WM_UNIT_CLEAR" val="1"/>
  <p:tag name="KSO_WM_UNIT_LAYERLEVEL" val="1_1_1"/>
  <p:tag name="KSO_WM_UNIT_VALUE" val="20"/>
  <p:tag name="KSO_WM_UNIT_HIGHLIGHT" val="0"/>
  <p:tag name="KSO_WM_UNIT_COMPATIBLE" val="0"/>
  <p:tag name="KSO_WM_BEAUTIFY_FLAG" val="#wm#"/>
  <p:tag name="KSO_WM_DIAGRAM_GROUP_CODE" val="l1-1"/>
  <p:tag name="KSO_WM_TAG_VERSION" val="1.0"/>
  <p:tag name="KSO_WM_UNIT_PRESET_TEXT" val="Lorem"/>
  <p:tag name="KSO_WM_UNIT_FILL_FORE_SCHEMECOLOR_INDEX" val="5"/>
  <p:tag name="KSO_WM_UNIT_FILL_TYPE" val="1"/>
  <p:tag name="KSO_WM_UNIT_TEXT_FILL_FORE_SCHEMECOLOR_INDEX" val="14"/>
  <p:tag name="KSO_WM_UNIT_TEXT_FILL_TYPE" val="1"/>
  <p:tag name="KSO_WM_UNIT_USESOURCEFORMAT_APPLY" val="0"/>
</p:tagLst>
</file>

<file path=ppt/tags/tag31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2"/>
  <p:tag name="KSO_WM_UNIT_ID" val="diagram160509_4*l_i*1_2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32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3"/>
  <p:tag name="KSO_WM_UNIT_ID" val="diagram160509_4*l_i*1_3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5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33.xml><?xml version="1.0" encoding="utf-8"?>
<p:tagLst xmlns:p="http://schemas.openxmlformats.org/presentationml/2006/main">
  <p:tag name="KSO_WM_TEMPLATE_CATEGORY" val="diagram"/>
  <p:tag name="KSO_WM_TEMPLATE_INDEX" val="160509"/>
  <p:tag name="KSO_WM_UNIT_TYPE" val="l_h_f"/>
  <p:tag name="KSO_WM_UNIT_INDEX" val="1_1_1"/>
  <p:tag name="KSO_WM_UNIT_ID" val="diagram160509_4*l_h_f*1_1_1"/>
  <p:tag name="KSO_WM_UNIT_CLEAR" val="1"/>
  <p:tag name="KSO_WM_UNIT_LAYERLEVEL" val="1_1_1"/>
  <p:tag name="KSO_WM_UNIT_VALUE" val="35"/>
  <p:tag name="KSO_WM_UNIT_HIGHLIGHT" val="0"/>
  <p:tag name="KSO_WM_UNIT_COMPATIBLE" val="0"/>
  <p:tag name="KSO_WM_BEAUTIFY_FLAG" val="#wm#"/>
  <p:tag name="KSO_WM_DIAGRAM_GROUP_CODE" val="l1-1"/>
  <p:tag name="KSO_WM_TAG_VERSION" val="1.0"/>
  <p:tag name="KSO_WM_UNIT_PRESET_TEXT" val="Lorem ipsum dolor sit amet consectetur"/>
  <p:tag name="KSO_WM_UNIT_TEXT_FILL_FORE_SCHEMECOLOR_INDEX" val="13"/>
  <p:tag name="KSO_WM_UNIT_TEXT_FILL_TYPE" val="1"/>
  <p:tag name="KSO_WM_UNIT_USESOURCEFORMAT_APPLY" val="0"/>
</p:tagLst>
</file>

<file path=ppt/tags/tag34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4"/>
  <p:tag name="KSO_WM_UNIT_ID" val="diagram160509_4*l_i*1_4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6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35.xml><?xml version="1.0" encoding="utf-8"?>
<p:tagLst xmlns:p="http://schemas.openxmlformats.org/presentationml/2006/main">
  <p:tag name="KSO_WM_TEMPLATE_CATEGORY" val="diagram"/>
  <p:tag name="KSO_WM_TEMPLATE_INDEX" val="160509"/>
  <p:tag name="KSO_WM_UNIT_TYPE" val="l_h_a"/>
  <p:tag name="KSO_WM_UNIT_INDEX" val="1_2_1"/>
  <p:tag name="KSO_WM_UNIT_ID" val="diagram160509_4*l_h_a*1_2_1"/>
  <p:tag name="KSO_WM_UNIT_CLEAR" val="1"/>
  <p:tag name="KSO_WM_UNIT_LAYERLEVEL" val="1_1_1"/>
  <p:tag name="KSO_WM_UNIT_VALUE" val="20"/>
  <p:tag name="KSO_WM_UNIT_HIGHLIGHT" val="0"/>
  <p:tag name="KSO_WM_UNIT_COMPATIBLE" val="0"/>
  <p:tag name="KSO_WM_BEAUTIFY_FLAG" val="#wm#"/>
  <p:tag name="KSO_WM_DIAGRAM_GROUP_CODE" val="l1-1"/>
  <p:tag name="KSO_WM_TAG_VERSION" val="1.0"/>
  <p:tag name="KSO_WM_UNIT_PRESET_TEXT" val="Lorem"/>
  <p:tag name="KSO_WM_UNIT_FILL_FORE_SCHEMECOLOR_INDEX" val="6"/>
  <p:tag name="KSO_WM_UNIT_FILL_TYPE" val="1"/>
  <p:tag name="KSO_WM_UNIT_TEXT_FILL_FORE_SCHEMECOLOR_INDEX" val="14"/>
  <p:tag name="KSO_WM_UNIT_TEXT_FILL_TYPE" val="1"/>
  <p:tag name="KSO_WM_UNIT_USESOURCEFORMAT_APPLY" val="0"/>
</p:tagLst>
</file>

<file path=ppt/tags/tag36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5"/>
  <p:tag name="KSO_WM_UNIT_ID" val="diagram160509_4*l_i*1_5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6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37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6"/>
  <p:tag name="KSO_WM_UNIT_ID" val="diagram160509_4*l_i*1_6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6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38.xml><?xml version="1.0" encoding="utf-8"?>
<p:tagLst xmlns:p="http://schemas.openxmlformats.org/presentationml/2006/main">
  <p:tag name="KSO_WM_TEMPLATE_CATEGORY" val="diagram"/>
  <p:tag name="KSO_WM_TEMPLATE_INDEX" val="160509"/>
  <p:tag name="KSO_WM_UNIT_TYPE" val="l_h_f"/>
  <p:tag name="KSO_WM_UNIT_INDEX" val="1_2_1"/>
  <p:tag name="KSO_WM_UNIT_ID" val="diagram160509_4*l_h_f*1_2_1"/>
  <p:tag name="KSO_WM_UNIT_CLEAR" val="1"/>
  <p:tag name="KSO_WM_UNIT_LAYERLEVEL" val="1_1_1"/>
  <p:tag name="KSO_WM_UNIT_VALUE" val="35"/>
  <p:tag name="KSO_WM_UNIT_HIGHLIGHT" val="0"/>
  <p:tag name="KSO_WM_UNIT_COMPATIBLE" val="0"/>
  <p:tag name="KSO_WM_BEAUTIFY_FLAG" val="#wm#"/>
  <p:tag name="KSO_WM_DIAGRAM_GROUP_CODE" val="l1-1"/>
  <p:tag name="KSO_WM_TAG_VERSION" val="1.0"/>
  <p:tag name="KSO_WM_UNIT_PRESET_TEXT" val="Lorem ipsum dolor sit amet consectetur"/>
  <p:tag name="KSO_WM_UNIT_TEXT_FILL_FORE_SCHEMECOLOR_INDEX" val="13"/>
  <p:tag name="KSO_WM_UNIT_TEXT_FILL_TYPE" val="1"/>
  <p:tag name="KSO_WM_UNIT_USESOURCEFORMAT_APPLY" val="0"/>
</p:tagLst>
</file>

<file path=ppt/tags/tag39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7"/>
  <p:tag name="KSO_WM_UNIT_ID" val="diagram160509_4*l_i*1_7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7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KSO_WM_TEMPLATE_CATEGORY" val="diagram"/>
  <p:tag name="KSO_WM_TEMPLATE_INDEX" val="160509"/>
  <p:tag name="KSO_WM_UNIT_TYPE" val="l_h_a"/>
  <p:tag name="KSO_WM_UNIT_INDEX" val="1_3_1"/>
  <p:tag name="KSO_WM_UNIT_ID" val="diagram160509_4*l_h_a*1_3_1"/>
  <p:tag name="KSO_WM_UNIT_CLEAR" val="1"/>
  <p:tag name="KSO_WM_UNIT_LAYERLEVEL" val="1_1_1"/>
  <p:tag name="KSO_WM_UNIT_VALUE" val="20"/>
  <p:tag name="KSO_WM_UNIT_HIGHLIGHT" val="0"/>
  <p:tag name="KSO_WM_UNIT_COMPATIBLE" val="0"/>
  <p:tag name="KSO_WM_BEAUTIFY_FLAG" val="#wm#"/>
  <p:tag name="KSO_WM_DIAGRAM_GROUP_CODE" val="l1-1"/>
  <p:tag name="KSO_WM_TAG_VERSION" val="1.0"/>
  <p:tag name="KSO_WM_UNIT_PRESET_TEXT" val="Lorem"/>
  <p:tag name="KSO_WM_UNIT_FILL_FORE_SCHEMECOLOR_INDEX" val="7"/>
  <p:tag name="KSO_WM_UNIT_FILL_TYPE" val="1"/>
  <p:tag name="KSO_WM_UNIT_TEXT_FILL_FORE_SCHEMECOLOR_INDEX" val="14"/>
  <p:tag name="KSO_WM_UNIT_TEXT_FILL_TYPE" val="1"/>
  <p:tag name="KSO_WM_UNIT_USESOURCEFORMAT_APPLY" val="0"/>
</p:tagLst>
</file>

<file path=ppt/tags/tag41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8"/>
  <p:tag name="KSO_WM_UNIT_ID" val="diagram160509_4*l_i*1_8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7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42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9"/>
  <p:tag name="KSO_WM_UNIT_ID" val="diagram160509_4*l_i*1_9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7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43.xml><?xml version="1.0" encoding="utf-8"?>
<p:tagLst xmlns:p="http://schemas.openxmlformats.org/presentationml/2006/main">
  <p:tag name="KSO_WM_TEMPLATE_CATEGORY" val="diagram"/>
  <p:tag name="KSO_WM_TEMPLATE_INDEX" val="160509"/>
  <p:tag name="KSO_WM_UNIT_TYPE" val="l_h_f"/>
  <p:tag name="KSO_WM_UNIT_INDEX" val="1_3_1"/>
  <p:tag name="KSO_WM_UNIT_ID" val="diagram160509_4*l_h_f*1_3_1"/>
  <p:tag name="KSO_WM_UNIT_CLEAR" val="1"/>
  <p:tag name="KSO_WM_UNIT_LAYERLEVEL" val="1_1_1"/>
  <p:tag name="KSO_WM_UNIT_VALUE" val="35"/>
  <p:tag name="KSO_WM_UNIT_HIGHLIGHT" val="0"/>
  <p:tag name="KSO_WM_UNIT_COMPATIBLE" val="0"/>
  <p:tag name="KSO_WM_BEAUTIFY_FLAG" val="#wm#"/>
  <p:tag name="KSO_WM_DIAGRAM_GROUP_CODE" val="l1-1"/>
  <p:tag name="KSO_WM_TAG_VERSION" val="1.0"/>
  <p:tag name="KSO_WM_UNIT_PRESET_TEXT" val="Lorem ipsum dolor sit amet consectetur"/>
  <p:tag name="KSO_WM_UNIT_TEXT_FILL_FORE_SCHEMECOLOR_INDEX" val="13"/>
  <p:tag name="KSO_WM_UNIT_TEXT_FILL_TYPE" val="1"/>
  <p:tag name="KSO_WM_UNIT_USESOURCEFORMAT_APPLY" val="0"/>
</p:tagLst>
</file>

<file path=ppt/tags/tag44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10"/>
  <p:tag name="KSO_WM_UNIT_ID" val="diagram160509_4*l_i*1_10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8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45.xml><?xml version="1.0" encoding="utf-8"?>
<p:tagLst xmlns:p="http://schemas.openxmlformats.org/presentationml/2006/main">
  <p:tag name="KSO_WM_TEMPLATE_CATEGORY" val="diagram"/>
  <p:tag name="KSO_WM_TEMPLATE_INDEX" val="160509"/>
  <p:tag name="KSO_WM_UNIT_TYPE" val="l_h_a"/>
  <p:tag name="KSO_WM_UNIT_INDEX" val="1_4_1"/>
  <p:tag name="KSO_WM_UNIT_ID" val="diagram160509_4*l_h_a*1_4_1"/>
  <p:tag name="KSO_WM_UNIT_CLEAR" val="1"/>
  <p:tag name="KSO_WM_UNIT_LAYERLEVEL" val="1_1_1"/>
  <p:tag name="KSO_WM_UNIT_VALUE" val="20"/>
  <p:tag name="KSO_WM_UNIT_HIGHLIGHT" val="0"/>
  <p:tag name="KSO_WM_UNIT_COMPATIBLE" val="0"/>
  <p:tag name="KSO_WM_BEAUTIFY_FLAG" val="#wm#"/>
  <p:tag name="KSO_WM_DIAGRAM_GROUP_CODE" val="l1-1"/>
  <p:tag name="KSO_WM_TAG_VERSION" val="1.0"/>
  <p:tag name="KSO_WM_UNIT_PRESET_TEXT" val="Lorem"/>
  <p:tag name="KSO_WM_UNIT_FILL_FORE_SCHEMECOLOR_INDEX" val="8"/>
  <p:tag name="KSO_WM_UNIT_FILL_TYPE" val="1"/>
  <p:tag name="KSO_WM_UNIT_TEXT_FILL_FORE_SCHEMECOLOR_INDEX" val="14"/>
  <p:tag name="KSO_WM_UNIT_TEXT_FILL_TYPE" val="1"/>
  <p:tag name="KSO_WM_UNIT_USESOURCEFORMAT_APPLY" val="0"/>
</p:tagLst>
</file>

<file path=ppt/tags/tag46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11"/>
  <p:tag name="KSO_WM_UNIT_ID" val="diagram160509_4*l_i*1_11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8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47.xml><?xml version="1.0" encoding="utf-8"?>
<p:tagLst xmlns:p="http://schemas.openxmlformats.org/presentationml/2006/main">
  <p:tag name="KSO_WM_TEMPLATE_CATEGORY" val="diagram"/>
  <p:tag name="KSO_WM_TEMPLATE_INDEX" val="160509"/>
  <p:tag name="KSO_WM_UNIT_TYPE" val="l_i"/>
  <p:tag name="KSO_WM_UNIT_INDEX" val="1_12"/>
  <p:tag name="KSO_WM_UNIT_ID" val="diagram160509_4*l_i*1_12"/>
  <p:tag name="KSO_WM_UNIT_CLEAR" val="1"/>
  <p:tag name="KSO_WM_UNIT_LAYERLEVEL" val="1_1"/>
  <p:tag name="KSO_WM_BEAUTIFY_FLAG" val="#wm#"/>
  <p:tag name="KSO_WM_DIAGRAM_GROUP_CODE" val="l1-1"/>
  <p:tag name="KSO_WM_TAG_VERSION" val="1.0"/>
  <p:tag name="KSO_WM_UNIT_FILL_FORE_SCHEMECOLOR_INDEX" val="8"/>
  <p:tag name="KSO_WM_UNIT_FILL_TYPE" val="1"/>
  <p:tag name="KSO_WM_UNIT_TEXT_FILL_FORE_SCHEMECOLOR_INDEX" val="13"/>
  <p:tag name="KSO_WM_UNIT_TEXT_FILL_TYPE" val="1"/>
  <p:tag name="KSO_WM_UNIT_USESOURCEFORMAT_APPLY" val="0"/>
</p:tagLst>
</file>

<file path=ppt/tags/tag48.xml><?xml version="1.0" encoding="utf-8"?>
<p:tagLst xmlns:p="http://schemas.openxmlformats.org/presentationml/2006/main">
  <p:tag name="KSO_WM_TEMPLATE_CATEGORY" val="diagram"/>
  <p:tag name="KSO_WM_TEMPLATE_INDEX" val="160509"/>
  <p:tag name="KSO_WM_UNIT_TYPE" val="l_h_f"/>
  <p:tag name="KSO_WM_UNIT_INDEX" val="1_4_1"/>
  <p:tag name="KSO_WM_UNIT_ID" val="diagram160509_4*l_h_f*1_4_1"/>
  <p:tag name="KSO_WM_UNIT_CLEAR" val="1"/>
  <p:tag name="KSO_WM_UNIT_LAYERLEVEL" val="1_1_1"/>
  <p:tag name="KSO_WM_UNIT_VALUE" val="35"/>
  <p:tag name="KSO_WM_UNIT_HIGHLIGHT" val="0"/>
  <p:tag name="KSO_WM_UNIT_COMPATIBLE" val="0"/>
  <p:tag name="KSO_WM_BEAUTIFY_FLAG" val="#wm#"/>
  <p:tag name="KSO_WM_DIAGRAM_GROUP_CODE" val="l1-1"/>
  <p:tag name="KSO_WM_TAG_VERSION" val="1.0"/>
  <p:tag name="KSO_WM_UNIT_PRESET_TEXT" val="Lorem ipsum dolor sit amet consectetur"/>
  <p:tag name="KSO_WM_UNIT_TEXT_FILL_FORE_SCHEMECOLOR_INDEX" val="13"/>
  <p:tag name="KSO_WM_UNIT_TEXT_FILL_TYPE" val="1"/>
  <p:tag name="KSO_WM_UNIT_USESOURCEFORMAT_APPLY" val="0"/>
</p:tagLst>
</file>

<file path=ppt/tags/tag49.xml><?xml version="1.0" encoding="utf-8"?>
<p:tagLst xmlns:p="http://schemas.openxmlformats.org/presentationml/2006/main">
  <p:tag name="KSO_WM_TEMPLATE_CATEGORY" val="diagram"/>
  <p:tag name="KSO_WM_TEMPLATE_INDEX" val="160509"/>
  <p:tag name="KSO_WM_SLIDE_ID" val="diagram160509_4"/>
  <p:tag name="KSO_WM_SLIDE_INDEX" val="4"/>
  <p:tag name="KSO_WM_SLIDE_ITEM_CNT" val="4"/>
  <p:tag name="KSO_WM_SLIDE_LAYOUT" val="a_l"/>
  <p:tag name="KSO_WM_SLIDE_LAYOUT_CNT" val="1_1"/>
  <p:tag name="KSO_WM_SLIDE_TYPE" val="text"/>
  <p:tag name="KSO_WM_BEAUTIFY_FLAG" val="#wm#"/>
  <p:tag name="KSO_WM_SLIDE_POSITION" val="104*152"/>
  <p:tag name="KSO_WM_SLIDE_SIZE" val="753*331"/>
  <p:tag name="KSO_WM_DIAGRAM_GROUP_CODE" val="l1-1"/>
  <p:tag name="KSO_WM_TAG_VERSION" val="1.0"/>
</p:tagLst>
</file>

<file path=ppt/tags/tag5.xml><?xml version="1.0" encoding="utf-8"?>
<p:tagLst xmlns:p="http://schemas.openxmlformats.org/presentationml/2006/main">
  <p:tag name="THINKCELLSHAPEDONOTDELETE" val="tD9H2_xGX4EKQGFRT094Q.Q"/>
</p:tagLst>
</file>

<file path=ppt/tags/tag50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0599"/>
  <p:tag name="KSO_WM_UNIT_VALUE" val="3"/>
  <p:tag name="KSO_WM_UNIT_HIGHLIGHT" val="0"/>
  <p:tag name="KSO_WM_UNIT_COMPATIBLE" val="0"/>
  <p:tag name="KSO_WM_UNIT_TYPE" val="m_i"/>
  <p:tag name="KSO_WM_UNIT_INDEX" val="1_2"/>
  <p:tag name="KSO_WM_UNIT_ID" val="diagram160599_1*m_i*1_2"/>
  <p:tag name="KSO_WM_UNIT_CLEAR" val="1"/>
  <p:tag name="KSO_WM_UNIT_LAYERLEVEL" val="1_1"/>
  <p:tag name="KSO_WM_DIAGRAM_GROUP_CODE" val="m1-1"/>
  <p:tag name="KSO_WM_UNIT_PRESET_TEXT" val="01"/>
  <p:tag name="KSO_WM_UNIT_USESOURCEFORMAT_APPLY" val="0"/>
</p:tagLst>
</file>

<file path=ppt/tags/tag51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49"/>
  <p:tag name="KSO_WM_UNIT_TYPE" val="m_i"/>
  <p:tag name="KSO_WM_UNIT_INDEX" val="1_7"/>
  <p:tag name="KSO_WM_UNIT_ID" val="diagram49_4*m_i*1_7"/>
  <p:tag name="KSO_WM_UNIT_CLEAR" val="1"/>
  <p:tag name="KSO_WM_UNIT_LAYERLEVEL" val="1_1"/>
  <p:tag name="KSO_WM_DIAGRAM_GROUP_CODE" val="m1-1"/>
  <p:tag name="KSO_WM_UNIT_LINE_FORE_SCHEMECOLOR_INDEX" val="5"/>
  <p:tag name="KSO_WM_UNIT_LINE_FILL_TYPE" val="2"/>
  <p:tag name="KSO_WM_UNIT_TEXT_FILL_FORE_SCHEMECOLOR_INDEX" val="2"/>
  <p:tag name="KSO_WM_UNIT_TEXT_FILL_TYPE" val="1"/>
  <p:tag name="KSO_WM_UNIT_USESOURCEFORMAT_APPLY" val="0"/>
</p:tagLst>
</file>

<file path=ppt/tags/tag52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49"/>
  <p:tag name="KSO_WM_UNIT_TYPE" val="m_h_a"/>
  <p:tag name="KSO_WM_UNIT_INDEX" val="1_2_1"/>
  <p:tag name="KSO_WM_UNIT_ID" val="diagram49_4*m_h_a*1_2_1"/>
  <p:tag name="KSO_WM_UNIT_CLEAR" val="1"/>
  <p:tag name="KSO_WM_UNIT_LAYERLEVEL" val="1_1_1"/>
  <p:tag name="KSO_WM_UNIT_VALUE" val="2"/>
  <p:tag name="KSO_WM_UNIT_HIGHLIGHT" val="0"/>
  <p:tag name="KSO_WM_UNIT_COMPATIBLE" val="0"/>
  <p:tag name="KSO_WM_DIAGRAM_GROUP_CODE" val="m1-1"/>
  <p:tag name="KSO_WM_UNIT_PRESET_TEXT" val="ENIM"/>
  <p:tag name="KSO_WM_UNIT_TEXT_FILL_FORE_SCHEMECOLOR_INDEX" val="5"/>
  <p:tag name="KSO_WM_UNIT_TEXT_FILL_TYPE" val="1"/>
  <p:tag name="KSO_WM_UNIT_USESOURCEFORMAT_APPLY" val="0"/>
</p:tagLst>
</file>

<file path=ppt/tags/tag53.xml><?xml version="1.0" encoding="utf-8"?>
<p:tagLst xmlns:p="http://schemas.openxmlformats.org/presentationml/2006/main">
  <p:tag name="KSO_WM_BEAUTIFY_FLAG" val="#wm#"/>
  <p:tag name="KSO_WM_TEMPLATE_CATEGORY" val="basetag"/>
  <p:tag name="KSO_WM_TEMPLATE_INDEX" val="20163626"/>
</p:tagLst>
</file>

<file path=ppt/tags/tag54.xml><?xml version="1.0" encoding="utf-8"?>
<p:tagLst xmlns:p="http://schemas.openxmlformats.org/presentationml/2006/main">
  <p:tag name="MH" val="20151022114849"/>
  <p:tag name="MH_LIBRARY" val="GRAPHIC"/>
  <p:tag name="MH_TYPE" val="Other"/>
  <p:tag name="MH_ORDER" val="2"/>
  <p:tag name="KSO_WM_TAG_VERSION" val="1.0"/>
  <p:tag name="KSO_WM_BEAUTIFY_FLAG" val="#wm#"/>
  <p:tag name="KSO_WM_UNIT_TYPE" val="i"/>
  <p:tag name="KSO_WM_UNIT_ID" val="diagram169521_1*i*3"/>
  <p:tag name="KSO_WM_TEMPLATE_CATEGORY" val="diagram"/>
  <p:tag name="KSO_WM_TEMPLATE_INDEX" val="169521"/>
  <p:tag name="KSO_WM_UNIT_INDEX" val="3"/>
</p:tagLst>
</file>

<file path=ppt/tags/tag55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9521"/>
  <p:tag name="MH" val="20151022114849"/>
  <p:tag name="MH_LIBRARY" val="GRAPHIC"/>
  <p:tag name="MH_TYPE" val="Picture"/>
  <p:tag name="MH_ORDER" val="1"/>
  <p:tag name="KSO_WM_UNIT_TYPE" val="d"/>
  <p:tag name="KSO_WM_UNIT_INDEX" val="1"/>
  <p:tag name="KSO_WM_UNIT_ID" val="custom160523_28*d*1"/>
  <p:tag name="KSO_WM_UNIT_CLEAR" val="0"/>
  <p:tag name="KSO_WM_UNIT_LAYERLEVEL" val="1"/>
  <p:tag name="KSO_WM_UNIT_VALUE" val="592*564"/>
  <p:tag name="KSO_WM_UNIT_HIGHLIGHT" val="0"/>
  <p:tag name="KSO_WM_UNIT_COMPATIBLE" val="0"/>
</p:tagLst>
</file>

<file path=ppt/tags/tag56.xml><?xml version="1.0" encoding="utf-8"?>
<p:tagLst xmlns:p="http://schemas.openxmlformats.org/presentationml/2006/main">
  <p:tag name="MH" val="20151022114849"/>
  <p:tag name="MH_LIBRARY" val="GRAPHIC"/>
  <p:tag name="MH_TYPE" val="Other"/>
  <p:tag name="MH_ORDER" val="3"/>
  <p:tag name="KSO_WM_TAG_VERSION" val="1.0"/>
  <p:tag name="KSO_WM_BEAUTIFY_FLAG" val="#wm#"/>
  <p:tag name="KSO_WM_UNIT_TYPE" val="i"/>
  <p:tag name="KSO_WM_UNIT_ID" val="diagram169521_1*i*8"/>
  <p:tag name="KSO_WM_TEMPLATE_CATEGORY" val="diagram"/>
  <p:tag name="KSO_WM_TEMPLATE_INDEX" val="169521"/>
  <p:tag name="KSO_WM_UNIT_INDEX" val="8"/>
</p:tagLst>
</file>

<file path=ppt/tags/tag57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9521"/>
  <p:tag name="MH" val="20151022114849"/>
  <p:tag name="MH_LIBRARY" val="GRAPHIC"/>
  <p:tag name="MH_TYPE" val="Picture"/>
  <p:tag name="MH_ORDER" val="2"/>
  <p:tag name="KSO_WM_UNIT_TYPE" val="d"/>
  <p:tag name="KSO_WM_UNIT_INDEX" val="2"/>
  <p:tag name="KSO_WM_UNIT_ID" val="custom160523_28*d*2"/>
  <p:tag name="KSO_WM_UNIT_CLEAR" val="0"/>
  <p:tag name="KSO_WM_UNIT_LAYERLEVEL" val="1"/>
  <p:tag name="KSO_WM_UNIT_VALUE" val="841*736"/>
  <p:tag name="KSO_WM_UNIT_HIGHLIGHT" val="0"/>
  <p:tag name="KSO_WM_UNIT_COMPATIBLE" val="0"/>
</p:tagLst>
</file>

<file path=ppt/tags/tag58.xml><?xml version="1.0" encoding="utf-8"?>
<p:tagLst xmlns:p="http://schemas.openxmlformats.org/presentationml/2006/main">
  <p:tag name="MH" val="20151022114849"/>
  <p:tag name="MH_LIBRARY" val="GRAPHIC"/>
  <p:tag name="MH_TYPE" val="Other"/>
  <p:tag name="MH_ORDER" val="4"/>
  <p:tag name="KSO_WM_TAG_VERSION" val="1.0"/>
  <p:tag name="KSO_WM_BEAUTIFY_FLAG" val="#wm#"/>
  <p:tag name="KSO_WM_UNIT_TYPE" val="i"/>
  <p:tag name="KSO_WM_UNIT_ID" val="diagram169521_1*i*13"/>
  <p:tag name="KSO_WM_TEMPLATE_CATEGORY" val="diagram"/>
  <p:tag name="KSO_WM_TEMPLATE_INDEX" val="169521"/>
  <p:tag name="KSO_WM_UNIT_INDEX" val="13"/>
</p:tagLst>
</file>

<file path=ppt/tags/tag59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9521"/>
  <p:tag name="MH" val="20151022114849"/>
  <p:tag name="MH_LIBRARY" val="GRAPHIC"/>
  <p:tag name="MH_TYPE" val="Picture"/>
  <p:tag name="MH_ORDER" val="3"/>
  <p:tag name="KSO_WM_UNIT_TYPE" val="d"/>
  <p:tag name="KSO_WM_UNIT_INDEX" val="3"/>
  <p:tag name="KSO_WM_UNIT_ID" val="custom160523_28*d*3"/>
  <p:tag name="KSO_WM_UNIT_CLEAR" val="0"/>
  <p:tag name="KSO_WM_UNIT_LAYERLEVEL" val="1"/>
  <p:tag name="KSO_WM_UNIT_VALUE" val="688*615"/>
  <p:tag name="KSO_WM_UNIT_HIGHLIGHT" val="0"/>
  <p:tag name="KSO_WM_UNIT_COMPATIBLE" val="0"/>
</p:tagLst>
</file>

<file path=ppt/tags/tag6.xml><?xml version="1.0" encoding="utf-8"?>
<p:tagLst xmlns:p="http://schemas.openxmlformats.org/presentationml/2006/main">
  <p:tag name="THINKCELLSHAPEDONOTDELETE" val="pgfvZBoC280yXWxBNk__XTA"/>
</p:tagLst>
</file>

<file path=ppt/tags/tag60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9521"/>
  <p:tag name="KSO_WM_UNIT_TYPE" val="a"/>
  <p:tag name="KSO_WM_UNIT_INDEX" val="1"/>
  <p:tag name="KSO_WM_UNIT_ID" val="custom160523_28*a*1"/>
  <p:tag name="KSO_WM_UNIT_CLEAR" val="1"/>
  <p:tag name="KSO_WM_UNIT_LAYERLEVEL" val="1"/>
  <p:tag name="KSO_WM_UNIT_VALUE" val="40"/>
  <p:tag name="KSO_WM_UNIT_ISCONTENTSTITLE" val="0"/>
  <p:tag name="KSO_WM_UNIT_HIGHLIGHT" val="0"/>
  <p:tag name="KSO_WM_UNIT_COMPATIBLE" val="0"/>
  <p:tag name="KSO_WM_UNIT_PRESET_TEXT_INDEX" val="3"/>
  <p:tag name="KSO_WM_UNIT_PRESET_TEXT_LEN" val="17"/>
</p:tagLst>
</file>

<file path=ppt/tags/tag61.xml><?xml version="1.0" encoding="utf-8"?>
<p:tagLst xmlns:p="http://schemas.openxmlformats.org/presentationml/2006/main">
  <p:tag name="KSO_WM_TEMPLATE_CATEGORY" val="diagram"/>
  <p:tag name="KSO_WM_TEMPLATE_INDEX" val="169335"/>
  <p:tag name="KSO_WM_UNIT_TYPE" val="d"/>
  <p:tag name="KSO_WM_UNIT_INDEX" val="3"/>
  <p:tag name="KSO_WM_UNIT_ID" val="256*d*3"/>
  <p:tag name="KSO_WM_UNIT_CLEAR" val="0"/>
  <p:tag name="KSO_WM_UNIT_LAYERLEVEL" val="1"/>
  <p:tag name="KSO_WM_UNIT_VALUE" val="789*1030"/>
  <p:tag name="KSO_WM_UNIT_HIGHLIGHT" val="0"/>
  <p:tag name="KSO_WM_UNIT_COMPATIBLE" val="0"/>
  <p:tag name="KSO_WM_BEAUTIFY_FLAG" val="#wm#"/>
  <p:tag name="KSO_WM_TAG_VERSION" val="1.0"/>
</p:tagLst>
</file>

<file path=ppt/tags/tag62.xml><?xml version="1.0" encoding="utf-8"?>
<p:tagLst xmlns:p="http://schemas.openxmlformats.org/presentationml/2006/main">
  <p:tag name="KSO_WM_TEMPLATE_CATEGORY" val="diagram"/>
  <p:tag name="KSO_WM_TEMPLATE_INDEX" val="169335"/>
  <p:tag name="KSO_WM_UNIT_TYPE" val="f"/>
  <p:tag name="KSO_WM_UNIT_INDEX" val="1"/>
  <p:tag name="KSO_WM_UNIT_ID" val="256*f*1"/>
  <p:tag name="KSO_WM_UNIT_CLEAR" val="1"/>
  <p:tag name="KSO_WM_UNIT_LAYERLEVEL" val="1"/>
  <p:tag name="KSO_WM_UNIT_VALUE" val="75"/>
  <p:tag name="KSO_WM_UNIT_HIGHLIGHT" val="0"/>
  <p:tag name="KSO_WM_UNIT_COMPATIBLE" val="0"/>
  <p:tag name="KSO_WM_UNIT_PRESET_TEXT_INDEX" val="3"/>
  <p:tag name="KSO_WM_UNIT_PRESET_TEXT_LEN" val="122"/>
  <p:tag name="KSO_WM_BEAUTIFY_FLAG" val="#wm#"/>
  <p:tag name="KSO_WM_TAG_VERSION" val="1.0"/>
</p:tagLst>
</file>

<file path=ppt/tags/tag63.xml><?xml version="1.0" encoding="utf-8"?>
<p:tagLst xmlns:p="http://schemas.openxmlformats.org/presentationml/2006/main">
  <p:tag name="MH_TYPE" val="#NeiR#"/>
  <p:tag name="MH_NUMBER" val="3"/>
  <p:tag name="MH_CATEGORY" val="#TuWHP#"/>
  <p:tag name="MH_LAYOUT" val="SubTitleText"/>
  <p:tag name="MH" val="20151022114849"/>
  <p:tag name="MH_LIBRARY" val="GRAPHIC"/>
  <p:tag name="KSO_WM_TEMPLATE_CATEGORY" val="diagram"/>
  <p:tag name="KSO_WM_TEMPLATE_INDEX" val="169521"/>
  <p:tag name="KSO_WM_SLIDE_ID" val="diagram169521_1"/>
  <p:tag name="KSO_WM_SLIDE_INDEX" val="1"/>
  <p:tag name="KSO_WM_SLIDE_ITEM_CNT" val="4"/>
  <p:tag name="KSO_WM_SLIDE_LAYOUT" val="a_f_d"/>
  <p:tag name="KSO_WM_SLIDE_LAYOUT_CNT" val="1_1_3"/>
  <p:tag name="KSO_WM_SLIDE_TYPE" val="text"/>
  <p:tag name="KSO_WM_BEAUTIFY_FLAG" val="#wm#"/>
  <p:tag name="KSO_WM_TAG_VERSION" val="1.0"/>
  <p:tag name="KSO_WM_SLIDE_POSITION" val="102*140"/>
  <p:tag name="KSO_WM_SLIDE_SIZE" val="756*362"/>
</p:tagLst>
</file>

<file path=ppt/tags/tag64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169267_1*i*0"/>
  <p:tag name="KSO_WM_TEMPLATE_CATEGORY" val="diagram"/>
  <p:tag name="KSO_WM_TEMPLATE_INDEX" val="169267"/>
  <p:tag name="KSO_WM_UNIT_INDEX" val="0"/>
</p:tagLst>
</file>

<file path=ppt/tags/tag65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169267_1*i*2"/>
  <p:tag name="KSO_WM_TEMPLATE_CATEGORY" val="diagram"/>
  <p:tag name="KSO_WM_TEMPLATE_INDEX" val="169267"/>
  <p:tag name="KSO_WM_UNIT_INDEX" val="2"/>
</p:tagLst>
</file>

<file path=ppt/tags/tag66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9267"/>
  <p:tag name="KSO_WM_UNIT_TYPE" val="d"/>
  <p:tag name="KSO_WM_UNIT_INDEX" val="1"/>
  <p:tag name="KSO_WM_UNIT_ID" val="diagram169267_1*d*1"/>
  <p:tag name="KSO_WM_UNIT_CLEAR" val="0"/>
  <p:tag name="KSO_WM_UNIT_LAYERLEVEL" val="1"/>
  <p:tag name="KSO_WM_UNIT_VALUE" val="811*815"/>
  <p:tag name="KSO_WM_UNIT_HIGHLIGHT" val="0"/>
  <p:tag name="KSO_WM_UNIT_COMPATIBLE" val="0"/>
</p:tagLst>
</file>

<file path=ppt/tags/tag67.xml><?xml version="1.0" encoding="utf-8"?>
<p:tagLst xmlns:p="http://schemas.openxmlformats.org/presentationml/2006/main">
  <p:tag name="KSO_WM_TAG_VERSION" val="1.0"/>
  <p:tag name="KSO_WM_BEAUTIFY_FLAG" val="#wm#"/>
  <p:tag name="KSO_WM_TEMPLATE_CATEGORY" val="diagram"/>
  <p:tag name="KSO_WM_TEMPLATE_INDEX" val="169267"/>
  <p:tag name="KSO_WM_UNIT_TYPE" val="d"/>
  <p:tag name="KSO_WM_UNIT_INDEX" val="2"/>
  <p:tag name="KSO_WM_UNIT_ID" val="diagram169267_1*d*2"/>
  <p:tag name="KSO_WM_UNIT_CLEAR" val="0"/>
  <p:tag name="KSO_WM_UNIT_LAYERLEVEL" val="1"/>
  <p:tag name="KSO_WM_UNIT_VALUE" val="1124*1130"/>
  <p:tag name="KSO_WM_UNIT_HIGHLIGHT" val="0"/>
  <p:tag name="KSO_WM_UNIT_COMPATIBLE" val="0"/>
</p:tagLst>
</file>

<file path=ppt/tags/tag68.xml><?xml version="1.0" encoding="utf-8"?>
<p:tagLst xmlns:p="http://schemas.openxmlformats.org/presentationml/2006/main">
  <p:tag name="KSO_WM_UNIT_INDEX" val="8"/>
  <p:tag name="KSO_WM_UNIT_CLEAR" val="1"/>
  <p:tag name="KSO_WM_UNIT_LAYERLEVEL" val="1"/>
  <p:tag name="KSO_WM_UNIT_VALUE" val="25"/>
  <p:tag name="KSO_WM_UNIT_HIGHLIGHT" val="0"/>
  <p:tag name="KSO_WM_UNIT_COMPATIBLE" val="1"/>
  <p:tag name="KSO_WM_UNIT_RELATE_UNITID" val="diagram169267_1*d*3"/>
  <p:tag name="KSO_WM_TAG_VERSION" val="1.0"/>
  <p:tag name="KSO_WM_BEAUTIFY_FLAG" val="#wm#"/>
  <p:tag name="KSO_WM_UNIT_TYPE" val="i"/>
  <p:tag name="KSO_WM_UNIT_ID" val="diagram169267_1*i*8"/>
  <p:tag name="KSO_WM_TEMPLATE_CATEGORY" val="diagram"/>
  <p:tag name="KSO_WM_TEMPLATE_INDEX" val="169267"/>
</p:tagLst>
</file>

<file path=ppt/tags/tag69.xml><?xml version="1.0" encoding="utf-8"?>
<p:tagLst xmlns:p="http://schemas.openxmlformats.org/presentationml/2006/main">
  <p:tag name="KSO_WM_TAG_VERSION" val="1.0"/>
  <p:tag name="KSO_WM_BEAUTIFY_FLAG" val="#wm#"/>
  <p:tag name="KSO_WM_UNIT_TYPE" val="i"/>
  <p:tag name="KSO_WM_UNIT_ID" val="diagram169267_1*i*0"/>
  <p:tag name="KSO_WM_TEMPLATE_CATEGORY" val="diagram"/>
  <p:tag name="KSO_WM_TEMPLATE_INDEX" val="169267"/>
  <p:tag name="KSO_WM_UNIT_INDEX" val="0"/>
</p:tagLst>
</file>

<file path=ppt/tags/tag7.xml><?xml version="1.0" encoding="utf-8"?>
<p:tagLst xmlns:p="http://schemas.openxmlformats.org/presentationml/2006/main">
  <p:tag name="THINKCELLSHAPEDONOTDELETE" val="pCQOVAHJjpUCFJg24y0iTxQ"/>
</p:tagLst>
</file>

<file path=ppt/tags/tag70.xml><?xml version="1.0" encoding="utf-8"?>
<p:tagLst xmlns:p="http://schemas.openxmlformats.org/presentationml/2006/main">
  <p:tag name="KSO_WM_UNIT_INDEX" val="7"/>
  <p:tag name="KSO_WM_UNIT_CLEAR" val="1"/>
  <p:tag name="KSO_WM_UNIT_LAYERLEVEL" val="1"/>
  <p:tag name="KSO_WM_UNIT_VALUE" val="56"/>
  <p:tag name="KSO_WM_UNIT_HIGHLIGHT" val="0"/>
  <p:tag name="KSO_WM_UNIT_COMPATIBLE" val="1"/>
  <p:tag name="KSO_WM_UNIT_RELATE_UNITID" val="diagram169267_1*d*2"/>
  <p:tag name="KSO_WM_TAG_VERSION" val="1.0"/>
  <p:tag name="KSO_WM_BEAUTIFY_FLAG" val="#wm#"/>
  <p:tag name="KSO_WM_UNIT_TYPE" val="i"/>
  <p:tag name="KSO_WM_UNIT_ID" val="diagram169267_1*i*7"/>
  <p:tag name="KSO_WM_TEMPLATE_CATEGORY" val="diagram"/>
  <p:tag name="KSO_WM_TEMPLATE_INDEX" val="169267"/>
</p:tagLst>
</file>

<file path=ppt/tags/tag71.xml><?xml version="1.0" encoding="utf-8"?>
<p:tagLst xmlns:p="http://schemas.openxmlformats.org/presentationml/2006/main">
  <p:tag name="KSO_WM_BEAUTIFY_FLAG" val="#wm#"/>
  <p:tag name="KSO_WM_TEMPLATE_CATEGORY" val="diagram"/>
  <p:tag name="KSO_WM_TEMPLATE_INDEX" val="169521"/>
</p:tagLst>
</file>

<file path=ppt/tags/tag72.xml><?xml version="1.0" encoding="utf-8"?>
<p:tagLst xmlns:p="http://schemas.openxmlformats.org/presentationml/2006/main">
  <p:tag name="KSO_WM_TEMPLATE_CATEGORY" val="diagram"/>
  <p:tag name="KSO_WM_TEMPLATE_INDEX" val="9334"/>
  <p:tag name="KSO_WM_UNIT_TYPE" val="d"/>
  <p:tag name="KSO_WM_UNIT_INDEX" val="3"/>
  <p:tag name="KSO_WM_UNIT_ID" val="256*d*3"/>
  <p:tag name="KSO_WM_UNIT_CLEAR" val="0"/>
  <p:tag name="KSO_WM_UNIT_LAYERLEVEL" val="1"/>
  <p:tag name="KSO_WM_UNIT_VALUE" val="383*592"/>
  <p:tag name="KSO_WM_UNIT_HIGHLIGHT" val="0"/>
  <p:tag name="KSO_WM_UNIT_COMPATIBLE" val="0"/>
  <p:tag name="KSO_WM_BEAUTIFY_FLAG" val="#wm#"/>
  <p:tag name="KSO_WM_TAG_VERSION" val="1.0"/>
</p:tagLst>
</file>

<file path=ppt/tags/tag73.xml><?xml version="1.0" encoding="utf-8"?>
<p:tagLst xmlns:p="http://schemas.openxmlformats.org/presentationml/2006/main">
  <p:tag name="KSO_WM_TEMPLATE_CATEGORY" val="diagram"/>
  <p:tag name="KSO_WM_TEMPLATE_INDEX" val="9334"/>
  <p:tag name="KSO_WM_UNIT_TYPE" val="d"/>
  <p:tag name="KSO_WM_UNIT_INDEX" val="5"/>
  <p:tag name="KSO_WM_UNIT_ID" val="256*d*5"/>
  <p:tag name="KSO_WM_UNIT_CLEAR" val="0"/>
  <p:tag name="KSO_WM_UNIT_LAYERLEVEL" val="1"/>
  <p:tag name="KSO_WM_UNIT_VALUE" val="383*592"/>
  <p:tag name="KSO_WM_UNIT_HIGHLIGHT" val="0"/>
  <p:tag name="KSO_WM_UNIT_COMPATIBLE" val="0"/>
  <p:tag name="KSO_WM_BEAUTIFY_FLAG" val="#wm#"/>
  <p:tag name="KSO_WM_TAG_VERSION" val="1.0"/>
</p:tagLst>
</file>

<file path=ppt/tags/tag74.xml><?xml version="1.0" encoding="utf-8"?>
<p:tagLst xmlns:p="http://schemas.openxmlformats.org/presentationml/2006/main">
  <p:tag name="KSO_WM_TEMPLATE_CATEGORY" val="diagram"/>
  <p:tag name="KSO_WM_TEMPLATE_INDEX" val="9334"/>
  <p:tag name="KSO_WM_UNIT_TYPE" val="d"/>
  <p:tag name="KSO_WM_UNIT_INDEX" val="2"/>
  <p:tag name="KSO_WM_UNIT_ID" val="256*d*2"/>
  <p:tag name="KSO_WM_UNIT_CLEAR" val="0"/>
  <p:tag name="KSO_WM_UNIT_LAYERLEVEL" val="1"/>
  <p:tag name="KSO_WM_UNIT_VALUE" val="383*592"/>
  <p:tag name="KSO_WM_UNIT_HIGHLIGHT" val="0"/>
  <p:tag name="KSO_WM_UNIT_COMPATIBLE" val="0"/>
  <p:tag name="KSO_WM_BEAUTIFY_FLAG" val="#wm#"/>
  <p:tag name="KSO_WM_TAG_VERSION" val="1.0"/>
</p:tagLst>
</file>

<file path=ppt/tags/tag75.xml><?xml version="1.0" encoding="utf-8"?>
<p:tagLst xmlns:p="http://schemas.openxmlformats.org/presentationml/2006/main">
  <p:tag name="KSO_WM_TEMPLATE_CATEGORY" val="diagram"/>
  <p:tag name="KSO_WM_TEMPLATE_INDEX" val="9334"/>
  <p:tag name="KSO_WM_UNIT_TYPE" val="d"/>
  <p:tag name="KSO_WM_UNIT_INDEX" val="1"/>
  <p:tag name="KSO_WM_UNIT_ID" val="256*d*1"/>
  <p:tag name="KSO_WM_UNIT_CLEAR" val="0"/>
  <p:tag name="KSO_WM_UNIT_LAYERLEVEL" val="1"/>
  <p:tag name="KSO_WM_UNIT_VALUE" val="383*592"/>
  <p:tag name="KSO_WM_UNIT_HIGHLIGHT" val="0"/>
  <p:tag name="KSO_WM_UNIT_COMPATIBLE" val="0"/>
  <p:tag name="KSO_WM_BEAUTIFY_FLAG" val="#wm#"/>
  <p:tag name="KSO_WM_TAG_VERSION" val="1.0"/>
</p:tagLst>
</file>

<file path=ppt/tags/tag76.xml><?xml version="1.0" encoding="utf-8"?>
<p:tagLst xmlns:p="http://schemas.openxmlformats.org/presentationml/2006/main">
  <p:tag name="KSO_WM_BEAUTIFY_FLAG" val="#wm#"/>
  <p:tag name="KSO_WM_UNIT_TYPE" val="i"/>
  <p:tag name="KSO_WM_UNIT_ID" val="diagram9334_1*i*7"/>
  <p:tag name="KSO_WM_TEMPLATE_CATEGORY" val="diagram"/>
  <p:tag name="KSO_WM_TEMPLATE_INDEX" val="9334"/>
  <p:tag name="KSO_WM_TAG_VERSION" val="1.0"/>
</p:tagLst>
</file>

<file path=ppt/tags/tag77.xml><?xml version="1.0" encoding="utf-8"?>
<p:tagLst xmlns:p="http://schemas.openxmlformats.org/presentationml/2006/main">
  <p:tag name="KSO_WM_TEMPLATE_CATEGORY" val="diagram"/>
  <p:tag name="KSO_WM_TEMPLATE_INDEX" val="9334"/>
  <p:tag name="KSO_WM_UNIT_TYPE" val="f"/>
  <p:tag name="KSO_WM_UNIT_INDEX" val="1"/>
  <p:tag name="KSO_WM_UNIT_ID" val="256*f*1"/>
  <p:tag name="KSO_WM_UNIT_CLEAR" val="1"/>
  <p:tag name="KSO_WM_UNIT_LAYERLEVEL" val="1"/>
  <p:tag name="KSO_WM_UNIT_VALUE" val="102"/>
  <p:tag name="KSO_WM_UNIT_HIGHLIGHT" val="0"/>
  <p:tag name="KSO_WM_UNIT_COMPATIBLE" val="0"/>
  <p:tag name="KSO_WM_UNIT_PRESET_TEXT_INDEX" val="3"/>
  <p:tag name="KSO_WM_UNIT_PRESET_TEXT_LEN" val="72"/>
  <p:tag name="KSO_WM_BEAUTIFY_FLAG" val="#wm#"/>
  <p:tag name="KSO_WM_TAG_VERSION" val="1.0"/>
</p:tagLst>
</file>

<file path=ppt/tags/tag78.xml><?xml version="1.0" encoding="utf-8"?>
<p:tagLst xmlns:p="http://schemas.openxmlformats.org/presentationml/2006/main">
  <p:tag name="KSO_WM_TEMPLATE_CATEGORY" val="diagram"/>
  <p:tag name="KSO_WM_TEMPLATE_INDEX" val="9334"/>
  <p:tag name="KSO_WM_UNIT_TYPE" val="a"/>
  <p:tag name="KSO_WM_UNIT_INDEX" val="1"/>
  <p:tag name="KSO_WM_UNIT_ID" val="256*a*1"/>
  <p:tag name="KSO_WM_UNIT_CLEAR" val="1"/>
  <p:tag name="KSO_WM_UNIT_LAYERLEVEL" val="1"/>
  <p:tag name="KSO_WM_UNIT_VALUE" val="51"/>
  <p:tag name="KSO_WM_UNIT_ISCONTENTSTITLE" val="0"/>
  <p:tag name="KSO_WM_UNIT_HIGHLIGHT" val="0"/>
  <p:tag name="KSO_WM_UNIT_COMPATIBLE" val="0"/>
  <p:tag name="KSO_WM_UNIT_PRESET_TEXT_INDEX" val="3"/>
  <p:tag name="KSO_WM_UNIT_PRESET_TEXT_LEN" val="24"/>
  <p:tag name="KSO_WM_BEAUTIFY_FLAG" val="#wm#"/>
  <p:tag name="KSO_WM_TAG_VERSION" val="1.0"/>
</p:tagLst>
</file>

<file path=ppt/tags/tag79.xml><?xml version="1.0" encoding="utf-8"?>
<p:tagLst xmlns:p="http://schemas.openxmlformats.org/presentationml/2006/main">
  <p:tag name="KSO_WM_BEAUTIFY_FLAG" val="#wm#"/>
  <p:tag name="KSO_WM_TEMPLATE_CATEGORY" val="basetag"/>
  <p:tag name="KSO_WM_TEMPLATE_INDEX" val="20163626"/>
</p:tagLst>
</file>

<file path=ppt/tags/tag8.xml><?xml version="1.0" encoding="utf-8"?>
<p:tagLst xmlns:p="http://schemas.openxmlformats.org/presentationml/2006/main">
  <p:tag name="THINKCELLSHAPEDONOTDELETE" val="pzH_AlQitGkaG6849PtL9WQ"/>
</p:tagLst>
</file>

<file path=ppt/tags/tag80.xml><?xml version="1.0" encoding="utf-8"?>
<p:tagLst xmlns:p="http://schemas.openxmlformats.org/presentationml/2006/main">
  <p:tag name="KSO_WM_BEAUTIFY_FLAG" val="#wm#"/>
  <p:tag name="KSO_WM_TEMPLATE_CATEGORY" val="basetag"/>
  <p:tag name="KSO_WM_TEMPLATE_INDEX" val="20163626"/>
</p:tagLst>
</file>

<file path=ppt/tags/tag81.xml><?xml version="1.0" encoding="utf-8"?>
<p:tagLst xmlns:p="http://schemas.openxmlformats.org/presentationml/2006/main">
  <p:tag name="KSO_WM_BEAUTIFY_FLAG" val="#wm#"/>
  <p:tag name="KSO_WM_TEMPLATE_CATEGORY" val="basetag"/>
  <p:tag name="KSO_WM_TEMPLATE_INDEX" val="20163626"/>
</p:tagLst>
</file>

<file path=ppt/tags/tag9.xml><?xml version="1.0" encoding="utf-8"?>
<p:tagLst xmlns:p="http://schemas.openxmlformats.org/presentationml/2006/main">
  <p:tag name="THINKCELLSHAPEDONOTDELETE" val="pJCeXqzHb1kaBwr62Ml2GSQ"/>
</p:tagLst>
</file>

<file path=ppt/theme/theme1.xml><?xml version="1.0" encoding="utf-8"?>
<a:theme xmlns:a="http://schemas.openxmlformats.org/drawingml/2006/main" name="JDI_template_logoless_J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JDI_template_logoless_J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JDI_template_logoless_J</Template>
  <TotalTime>0</TotalTime>
  <Words>4239</Words>
  <Application>WPS 演示</Application>
  <PresentationFormat>A4 纸张(210x297 毫米)</PresentationFormat>
  <Paragraphs>583</Paragraphs>
  <Slides>36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2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36</vt:i4>
      </vt:variant>
    </vt:vector>
  </HeadingPairs>
  <TitlesOfParts>
    <vt:vector size="63" baseType="lpstr">
      <vt:lpstr>Arial</vt:lpstr>
      <vt:lpstr>宋体</vt:lpstr>
      <vt:lpstr>Wingdings</vt:lpstr>
      <vt:lpstr>ヒラギノ角ゴ Pro W3</vt:lpstr>
      <vt:lpstr>Calibri</vt:lpstr>
      <vt:lpstr>MS PGothic</vt:lpstr>
      <vt:lpstr>ヒラギノ角ゴ Pro W3</vt:lpstr>
      <vt:lpstr>Calibri</vt:lpstr>
      <vt:lpstr>Arial</vt:lpstr>
      <vt:lpstr>微软雅黑</vt:lpstr>
      <vt:lpstr>新宋体</vt:lpstr>
      <vt:lpstr>DFKai-SB</vt:lpstr>
      <vt:lpstr>Times New Roman</vt:lpstr>
      <vt:lpstr>黑体</vt:lpstr>
      <vt:lpstr>Arial Unicode MS</vt:lpstr>
      <vt:lpstr>KF-B5 P Kaishu</vt:lpstr>
      <vt:lpstr>HGMaruGothicMPRO</vt:lpstr>
      <vt:lpstr>HG丸ｺﾞｼｯｸM-PRO</vt:lpstr>
      <vt:lpstr>Tahoma</vt:lpstr>
      <vt:lpstr>Wingdings</vt:lpstr>
      <vt:lpstr>Segoe Print</vt:lpstr>
      <vt:lpstr>PMingLiU</vt:lpstr>
      <vt:lpstr>MS Mincho</vt:lpstr>
      <vt:lpstr>MS Gothic</vt:lpstr>
      <vt:lpstr>MingLiU</vt:lpstr>
      <vt:lpstr>JDI_template_logoless_J</vt:lpstr>
      <vt:lpstr>1_JDI_template_logoless_J</vt:lpstr>
      <vt:lpstr>晶端显示精密电子(苏州)有限公司</vt:lpstr>
      <vt:lpstr>醉美苏州</vt:lpstr>
      <vt:lpstr>了解你将要来到的城市</vt:lpstr>
      <vt:lpstr>了解你将要来到的城市</vt:lpstr>
      <vt:lpstr>PowerPoint 演示文稿</vt:lpstr>
      <vt:lpstr>PowerPoint 演示文稿</vt:lpstr>
      <vt:lpstr>玩转苏州之现代苏州</vt:lpstr>
      <vt:lpstr>玩转苏州之水乡苏州</vt:lpstr>
      <vt:lpstr>苏州介绍</vt:lpstr>
      <vt:lpstr> Japan Display股份有限公司概要</vt:lpstr>
      <vt:lpstr>SE会社概要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志愿者活动</vt:lpstr>
      <vt:lpstr>PowerPoint 演示文稿</vt:lpstr>
      <vt:lpstr>PowerPoint 演示文稿</vt:lpstr>
      <vt:lpstr>俱乐部活动</vt:lpstr>
      <vt:lpstr>工作岗位要求</vt:lpstr>
      <vt:lpstr>薪资福利</vt:lpstr>
      <vt:lpstr>讨论？</vt:lpstr>
      <vt:lpstr>PowerPoint 演示文稿</vt:lpstr>
      <vt:lpstr>1、学习：实习生定制课程</vt:lpstr>
      <vt:lpstr>2、旅行：实习生旅行计划</vt:lpstr>
      <vt:lpstr>3、体验：实习生专业拓展课程</vt:lpstr>
      <vt:lpstr>实习生体验课程定位</vt:lpstr>
      <vt:lpstr>所以，有价值的实习应该是</vt:lpstr>
      <vt:lpstr>晶端显示</vt:lpstr>
      <vt:lpstr>PowerPoint 演示文稿</vt:lpstr>
    </vt:vector>
  </TitlesOfParts>
  <Company>H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JDI00262</dc:creator>
  <cp:lastModifiedBy>资深人力服务商Service吴</cp:lastModifiedBy>
  <cp:revision>85</cp:revision>
  <cp:lastPrinted>2012-07-10T10:37:00Z</cp:lastPrinted>
  <dcterms:created xsi:type="dcterms:W3CDTF">2012-07-10T09:56:00Z</dcterms:created>
  <dcterms:modified xsi:type="dcterms:W3CDTF">2019-05-07T08:3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213</vt:lpwstr>
  </property>
</Properties>
</file>